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4.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7"/>
  </p:notesMasterIdLst>
  <p:sldIdLst>
    <p:sldId id="2143187633" r:id="rId5"/>
    <p:sldId id="2146846967" r:id="rId6"/>
    <p:sldId id="769" r:id="rId7"/>
    <p:sldId id="767" r:id="rId8"/>
    <p:sldId id="2147327344" r:id="rId9"/>
    <p:sldId id="2147327345" r:id="rId10"/>
    <p:sldId id="2147327333" r:id="rId11"/>
    <p:sldId id="2147327334" r:id="rId12"/>
    <p:sldId id="2147327335" r:id="rId13"/>
    <p:sldId id="2147327336" r:id="rId14"/>
    <p:sldId id="2147327337" r:id="rId15"/>
    <p:sldId id="2147327341" r:id="rId16"/>
    <p:sldId id="2147327342" r:id="rId17"/>
    <p:sldId id="2147327343" r:id="rId18"/>
    <p:sldId id="2147327339" r:id="rId19"/>
    <p:sldId id="2143187629" r:id="rId20"/>
    <p:sldId id="2147327346" r:id="rId21"/>
    <p:sldId id="2143187631" r:id="rId22"/>
    <p:sldId id="2143187630" r:id="rId23"/>
    <p:sldId id="2145707500" r:id="rId24"/>
    <p:sldId id="2147327347" r:id="rId25"/>
    <p:sldId id="758"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001639"/>
    <a:srgbClr val="D7153A"/>
    <a:srgbClr val="54C6D7"/>
    <a:srgbClr val="76829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C37024E-9836-4EFE-98E3-569479564779}" v="150" dt="2022-06-06T06:15:08.06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762" autoAdjust="0"/>
    <p:restoredTop sz="86722" autoAdjust="0"/>
  </p:normalViewPr>
  <p:slideViewPr>
    <p:cSldViewPr snapToGrid="0">
      <p:cViewPr varScale="1">
        <p:scale>
          <a:sx n="99" d="100"/>
          <a:sy n="99" d="100"/>
        </p:scale>
        <p:origin x="984" y="78"/>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theme" Target="theme/theme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avard Oestensen" userId="e1d95b87-88f0-4af7-a86d-fc8ee67ecb16" providerId="ADAL" clId="{1C37024E-9836-4EFE-98E3-569479564779}"/>
    <pc:docChg chg="undo redo custSel addSld delSld modSld sldOrd delMainMaster">
      <pc:chgData name="Haavard Oestensen" userId="e1d95b87-88f0-4af7-a86d-fc8ee67ecb16" providerId="ADAL" clId="{1C37024E-9836-4EFE-98E3-569479564779}" dt="2022-06-06T06:16:52.238" v="2609" actId="47"/>
      <pc:docMkLst>
        <pc:docMk/>
      </pc:docMkLst>
      <pc:sldChg chg="del">
        <pc:chgData name="Haavard Oestensen" userId="e1d95b87-88f0-4af7-a86d-fc8ee67ecb16" providerId="ADAL" clId="{1C37024E-9836-4EFE-98E3-569479564779}" dt="2022-06-06T04:05:08.142" v="2373" actId="47"/>
        <pc:sldMkLst>
          <pc:docMk/>
          <pc:sldMk cId="2515236888" sldId="756"/>
        </pc:sldMkLst>
      </pc:sldChg>
      <pc:sldChg chg="del mod modShow">
        <pc:chgData name="Haavard Oestensen" userId="e1d95b87-88f0-4af7-a86d-fc8ee67ecb16" providerId="ADAL" clId="{1C37024E-9836-4EFE-98E3-569479564779}" dt="2022-06-06T06:16:52.238" v="2609" actId="47"/>
        <pc:sldMkLst>
          <pc:docMk/>
          <pc:sldMk cId="3898732626" sldId="757"/>
        </pc:sldMkLst>
      </pc:sldChg>
      <pc:sldChg chg="del">
        <pc:chgData name="Haavard Oestensen" userId="e1d95b87-88f0-4af7-a86d-fc8ee67ecb16" providerId="ADAL" clId="{1C37024E-9836-4EFE-98E3-569479564779}" dt="2022-06-06T04:05:08.142" v="2373" actId="47"/>
        <pc:sldMkLst>
          <pc:docMk/>
          <pc:sldMk cId="3127313216" sldId="759"/>
        </pc:sldMkLst>
      </pc:sldChg>
      <pc:sldChg chg="del">
        <pc:chgData name="Haavard Oestensen" userId="e1d95b87-88f0-4af7-a86d-fc8ee67ecb16" providerId="ADAL" clId="{1C37024E-9836-4EFE-98E3-569479564779}" dt="2022-06-06T04:05:08.142" v="2373" actId="47"/>
        <pc:sldMkLst>
          <pc:docMk/>
          <pc:sldMk cId="1785311358" sldId="760"/>
        </pc:sldMkLst>
      </pc:sldChg>
      <pc:sldChg chg="del">
        <pc:chgData name="Haavard Oestensen" userId="e1d95b87-88f0-4af7-a86d-fc8ee67ecb16" providerId="ADAL" clId="{1C37024E-9836-4EFE-98E3-569479564779}" dt="2022-06-06T04:05:08.142" v="2373" actId="47"/>
        <pc:sldMkLst>
          <pc:docMk/>
          <pc:sldMk cId="1903865929" sldId="761"/>
        </pc:sldMkLst>
      </pc:sldChg>
      <pc:sldChg chg="del">
        <pc:chgData name="Haavard Oestensen" userId="e1d95b87-88f0-4af7-a86d-fc8ee67ecb16" providerId="ADAL" clId="{1C37024E-9836-4EFE-98E3-569479564779}" dt="2022-06-06T04:05:08.142" v="2373" actId="47"/>
        <pc:sldMkLst>
          <pc:docMk/>
          <pc:sldMk cId="2328979107" sldId="762"/>
        </pc:sldMkLst>
      </pc:sldChg>
      <pc:sldChg chg="del">
        <pc:chgData name="Haavard Oestensen" userId="e1d95b87-88f0-4af7-a86d-fc8ee67ecb16" providerId="ADAL" clId="{1C37024E-9836-4EFE-98E3-569479564779}" dt="2022-06-06T04:05:08.142" v="2373" actId="47"/>
        <pc:sldMkLst>
          <pc:docMk/>
          <pc:sldMk cId="1743728568" sldId="763"/>
        </pc:sldMkLst>
      </pc:sldChg>
      <pc:sldChg chg="del mod ord modShow">
        <pc:chgData name="Haavard Oestensen" userId="e1d95b87-88f0-4af7-a86d-fc8ee67ecb16" providerId="ADAL" clId="{1C37024E-9836-4EFE-98E3-569479564779}" dt="2022-06-06T06:16:52.238" v="2609" actId="47"/>
        <pc:sldMkLst>
          <pc:docMk/>
          <pc:sldMk cId="3867933966" sldId="765"/>
        </pc:sldMkLst>
      </pc:sldChg>
      <pc:sldChg chg="del">
        <pc:chgData name="Haavard Oestensen" userId="e1d95b87-88f0-4af7-a86d-fc8ee67ecb16" providerId="ADAL" clId="{1C37024E-9836-4EFE-98E3-569479564779}" dt="2022-06-06T04:05:08.142" v="2373" actId="47"/>
        <pc:sldMkLst>
          <pc:docMk/>
          <pc:sldMk cId="1116511758" sldId="766"/>
        </pc:sldMkLst>
      </pc:sldChg>
      <pc:sldChg chg="addSp modSp mod modTransition">
        <pc:chgData name="Haavard Oestensen" userId="e1d95b87-88f0-4af7-a86d-fc8ee67ecb16" providerId="ADAL" clId="{1C37024E-9836-4EFE-98E3-569479564779}" dt="2022-06-06T05:11:17.101" v="2457" actId="20577"/>
        <pc:sldMkLst>
          <pc:docMk/>
          <pc:sldMk cId="457294464" sldId="767"/>
        </pc:sldMkLst>
        <pc:spChg chg="mod">
          <ac:chgData name="Haavard Oestensen" userId="e1d95b87-88f0-4af7-a86d-fc8ee67ecb16" providerId="ADAL" clId="{1C37024E-9836-4EFE-98E3-569479564779}" dt="2022-06-05T15:49:45.180" v="562" actId="207"/>
          <ac:spMkLst>
            <pc:docMk/>
            <pc:sldMk cId="457294464" sldId="767"/>
            <ac:spMk id="10" creationId="{3699B3BC-1C89-4492-96D1-66A7285BE9F2}"/>
          </ac:spMkLst>
        </pc:spChg>
        <pc:spChg chg="mod">
          <ac:chgData name="Haavard Oestensen" userId="e1d95b87-88f0-4af7-a86d-fc8ee67ecb16" providerId="ADAL" clId="{1C37024E-9836-4EFE-98E3-569479564779}" dt="2022-06-06T03:58:51.106" v="2168" actId="255"/>
          <ac:spMkLst>
            <pc:docMk/>
            <pc:sldMk cId="457294464" sldId="767"/>
            <ac:spMk id="11" creationId="{A2DD11A7-83BF-4B22-8EBE-1952FD64D4F6}"/>
          </ac:spMkLst>
        </pc:spChg>
        <pc:spChg chg="mod">
          <ac:chgData name="Haavard Oestensen" userId="e1d95b87-88f0-4af7-a86d-fc8ee67ecb16" providerId="ADAL" clId="{1C37024E-9836-4EFE-98E3-569479564779}" dt="2022-06-06T05:11:17.101" v="2457" actId="20577"/>
          <ac:spMkLst>
            <pc:docMk/>
            <pc:sldMk cId="457294464" sldId="767"/>
            <ac:spMk id="12" creationId="{6399BE4A-0395-4660-980E-ADBC891FF72E}"/>
          </ac:spMkLst>
        </pc:spChg>
        <pc:spChg chg="mod">
          <ac:chgData name="Haavard Oestensen" userId="e1d95b87-88f0-4af7-a86d-fc8ee67ecb16" providerId="ADAL" clId="{1C37024E-9836-4EFE-98E3-569479564779}" dt="2022-06-06T04:06:40.441" v="2381" actId="1076"/>
          <ac:spMkLst>
            <pc:docMk/>
            <pc:sldMk cId="457294464" sldId="767"/>
            <ac:spMk id="14" creationId="{465BA451-59A0-48B6-97FF-D8B57F2AEC98}"/>
          </ac:spMkLst>
        </pc:spChg>
        <pc:spChg chg="mod">
          <ac:chgData name="Haavard Oestensen" userId="e1d95b87-88f0-4af7-a86d-fc8ee67ecb16" providerId="ADAL" clId="{1C37024E-9836-4EFE-98E3-569479564779}" dt="2022-06-06T04:06:35.426" v="2380" actId="1076"/>
          <ac:spMkLst>
            <pc:docMk/>
            <pc:sldMk cId="457294464" sldId="767"/>
            <ac:spMk id="15" creationId="{1FB929B1-B2E5-4CDE-A10D-52070F602BA2}"/>
          </ac:spMkLst>
        </pc:spChg>
        <pc:spChg chg="add mod">
          <ac:chgData name="Haavard Oestensen" userId="e1d95b87-88f0-4af7-a86d-fc8ee67ecb16" providerId="ADAL" clId="{1C37024E-9836-4EFE-98E3-569479564779}" dt="2022-06-05T15:08:15.460" v="243" actId="14100"/>
          <ac:spMkLst>
            <pc:docMk/>
            <pc:sldMk cId="457294464" sldId="767"/>
            <ac:spMk id="21" creationId="{1B28BF2A-51AB-4E0C-9639-BEBA0209126D}"/>
          </ac:spMkLst>
        </pc:spChg>
        <pc:spChg chg="mod">
          <ac:chgData name="Haavard Oestensen" userId="e1d95b87-88f0-4af7-a86d-fc8ee67ecb16" providerId="ADAL" clId="{1C37024E-9836-4EFE-98E3-569479564779}" dt="2022-06-06T03:58:55.625" v="2169" actId="255"/>
          <ac:spMkLst>
            <pc:docMk/>
            <pc:sldMk cId="457294464" sldId="767"/>
            <ac:spMk id="37" creationId="{D4D64708-11CE-4745-8F6C-65C4AF0D0ED5}"/>
          </ac:spMkLst>
        </pc:spChg>
        <pc:spChg chg="mod">
          <ac:chgData name="Haavard Oestensen" userId="e1d95b87-88f0-4af7-a86d-fc8ee67ecb16" providerId="ADAL" clId="{1C37024E-9836-4EFE-98E3-569479564779}" dt="2022-06-06T04:08:56.161" v="2382" actId="1076"/>
          <ac:spMkLst>
            <pc:docMk/>
            <pc:sldMk cId="457294464" sldId="767"/>
            <ac:spMk id="38" creationId="{5E5CE8D9-2556-453B-965C-7F5DC7A0E777}"/>
          </ac:spMkLst>
        </pc:spChg>
        <pc:cxnChg chg="mod">
          <ac:chgData name="Haavard Oestensen" userId="e1d95b87-88f0-4af7-a86d-fc8ee67ecb16" providerId="ADAL" clId="{1C37024E-9836-4EFE-98E3-569479564779}" dt="2022-06-06T03:59:10.926" v="2171" actId="14100"/>
          <ac:cxnSpMkLst>
            <pc:docMk/>
            <pc:sldMk cId="457294464" sldId="767"/>
            <ac:cxnSpMk id="27" creationId="{58AEBD7B-2AFB-46B0-8ABB-315B15A1CAC3}"/>
          </ac:cxnSpMkLst>
        </pc:cxnChg>
      </pc:sldChg>
      <pc:sldChg chg="del">
        <pc:chgData name="Haavard Oestensen" userId="e1d95b87-88f0-4af7-a86d-fc8ee67ecb16" providerId="ADAL" clId="{1C37024E-9836-4EFE-98E3-569479564779}" dt="2022-06-06T04:05:08.142" v="2373" actId="47"/>
        <pc:sldMkLst>
          <pc:docMk/>
          <pc:sldMk cId="284184818" sldId="768"/>
        </pc:sldMkLst>
      </pc:sldChg>
      <pc:sldChg chg="delSp modSp mod">
        <pc:chgData name="Haavard Oestensen" userId="e1d95b87-88f0-4af7-a86d-fc8ee67ecb16" providerId="ADAL" clId="{1C37024E-9836-4EFE-98E3-569479564779}" dt="2022-06-06T05:06:24.562" v="2419" actId="20577"/>
        <pc:sldMkLst>
          <pc:docMk/>
          <pc:sldMk cId="3024680959" sldId="769"/>
        </pc:sldMkLst>
        <pc:spChg chg="mod">
          <ac:chgData name="Haavard Oestensen" userId="e1d95b87-88f0-4af7-a86d-fc8ee67ecb16" providerId="ADAL" clId="{1C37024E-9836-4EFE-98E3-569479564779}" dt="2022-06-06T05:06:24.562" v="2419" actId="20577"/>
          <ac:spMkLst>
            <pc:docMk/>
            <pc:sldMk cId="3024680959" sldId="769"/>
            <ac:spMk id="8" creationId="{11774D9B-8BDE-4B3A-99AD-EA22465549D4}"/>
          </ac:spMkLst>
        </pc:spChg>
        <pc:picChg chg="del">
          <ac:chgData name="Haavard Oestensen" userId="e1d95b87-88f0-4af7-a86d-fc8ee67ecb16" providerId="ADAL" clId="{1C37024E-9836-4EFE-98E3-569479564779}" dt="2022-06-05T16:24:39.174" v="2059" actId="478"/>
          <ac:picMkLst>
            <pc:docMk/>
            <pc:sldMk cId="3024680959" sldId="769"/>
            <ac:picMk id="9" creationId="{F3A8E474-8932-42E8-8469-729C8D932F6E}"/>
          </ac:picMkLst>
        </pc:picChg>
      </pc:sldChg>
      <pc:sldChg chg="del">
        <pc:chgData name="Haavard Oestensen" userId="e1d95b87-88f0-4af7-a86d-fc8ee67ecb16" providerId="ADAL" clId="{1C37024E-9836-4EFE-98E3-569479564779}" dt="2022-06-05T15:04:13.458" v="28" actId="47"/>
        <pc:sldMkLst>
          <pc:docMk/>
          <pc:sldMk cId="2670753763" sldId="770"/>
        </pc:sldMkLst>
      </pc:sldChg>
      <pc:sldChg chg="addSp delSp modSp del mod ord modShow">
        <pc:chgData name="Haavard Oestensen" userId="e1d95b87-88f0-4af7-a86d-fc8ee67ecb16" providerId="ADAL" clId="{1C37024E-9836-4EFE-98E3-569479564779}" dt="2022-06-06T06:16:52.238" v="2609" actId="47"/>
        <pc:sldMkLst>
          <pc:docMk/>
          <pc:sldMk cId="1632323667" sldId="772"/>
        </pc:sldMkLst>
        <pc:spChg chg="add del mod">
          <ac:chgData name="Haavard Oestensen" userId="e1d95b87-88f0-4af7-a86d-fc8ee67ecb16" providerId="ADAL" clId="{1C37024E-9836-4EFE-98E3-569479564779}" dt="2022-06-05T15:08:26.696" v="247" actId="478"/>
          <ac:spMkLst>
            <pc:docMk/>
            <pc:sldMk cId="1632323667" sldId="772"/>
            <ac:spMk id="3" creationId="{DAF8E8B4-13C1-4D65-BFD5-D4A8F6F3AC20}"/>
          </ac:spMkLst>
        </pc:spChg>
        <pc:spChg chg="mod">
          <ac:chgData name="Haavard Oestensen" userId="e1d95b87-88f0-4af7-a86d-fc8ee67ecb16" providerId="ADAL" clId="{1C37024E-9836-4EFE-98E3-569479564779}" dt="2022-06-05T15:28:24.892" v="369" actId="108"/>
          <ac:spMkLst>
            <pc:docMk/>
            <pc:sldMk cId="1632323667" sldId="772"/>
            <ac:spMk id="6" creationId="{9F8F0756-104E-48CE-88BB-AEBE91C98F27}"/>
          </ac:spMkLst>
        </pc:spChg>
        <pc:spChg chg="mod">
          <ac:chgData name="Haavard Oestensen" userId="e1d95b87-88f0-4af7-a86d-fc8ee67ecb16" providerId="ADAL" clId="{1C37024E-9836-4EFE-98E3-569479564779}" dt="2022-06-05T15:06:26.749" v="93" actId="122"/>
          <ac:spMkLst>
            <pc:docMk/>
            <pc:sldMk cId="1632323667" sldId="772"/>
            <ac:spMk id="12" creationId="{76CEA71D-97B6-40E0-8880-C86653EF46F4}"/>
          </ac:spMkLst>
        </pc:spChg>
        <pc:spChg chg="mod">
          <ac:chgData name="Haavard Oestensen" userId="e1d95b87-88f0-4af7-a86d-fc8ee67ecb16" providerId="ADAL" clId="{1C37024E-9836-4EFE-98E3-569479564779}" dt="2022-06-05T15:25:09.042" v="360" actId="20577"/>
          <ac:spMkLst>
            <pc:docMk/>
            <pc:sldMk cId="1632323667" sldId="772"/>
            <ac:spMk id="14" creationId="{236B0C6D-9734-4409-AEDE-446A37DFD068}"/>
          </ac:spMkLst>
        </pc:spChg>
        <pc:spChg chg="add mod">
          <ac:chgData name="Haavard Oestensen" userId="e1d95b87-88f0-4af7-a86d-fc8ee67ecb16" providerId="ADAL" clId="{1C37024E-9836-4EFE-98E3-569479564779}" dt="2022-06-05T15:08:27.084" v="248"/>
          <ac:spMkLst>
            <pc:docMk/>
            <pc:sldMk cId="1632323667" sldId="772"/>
            <ac:spMk id="16" creationId="{25E8477E-4684-49BE-86A7-3DAA5C22A0FC}"/>
          </ac:spMkLst>
        </pc:spChg>
      </pc:sldChg>
      <pc:sldChg chg="del ord">
        <pc:chgData name="Haavard Oestensen" userId="e1d95b87-88f0-4af7-a86d-fc8ee67ecb16" providerId="ADAL" clId="{1C37024E-9836-4EFE-98E3-569479564779}" dt="2022-06-06T04:47:45.616" v="2388" actId="47"/>
        <pc:sldMkLst>
          <pc:docMk/>
          <pc:sldMk cId="1640401289" sldId="838839949"/>
        </pc:sldMkLst>
      </pc:sldChg>
      <pc:sldChg chg="del ord">
        <pc:chgData name="Haavard Oestensen" userId="e1d95b87-88f0-4af7-a86d-fc8ee67ecb16" providerId="ADAL" clId="{1C37024E-9836-4EFE-98E3-569479564779}" dt="2022-06-06T04:05:08.142" v="2373" actId="47"/>
        <pc:sldMkLst>
          <pc:docMk/>
          <pc:sldMk cId="2141066856" sldId="2134806457"/>
        </pc:sldMkLst>
      </pc:sldChg>
      <pc:sldChg chg="modSp add del mod modNotesTx">
        <pc:chgData name="Haavard Oestensen" userId="e1d95b87-88f0-4af7-a86d-fc8ee67ecb16" providerId="ADAL" clId="{1C37024E-9836-4EFE-98E3-569479564779}" dt="2022-06-06T03:58:27.707" v="2164" actId="47"/>
        <pc:sldMkLst>
          <pc:docMk/>
          <pc:sldMk cId="2885801788" sldId="2142532338"/>
        </pc:sldMkLst>
        <pc:spChg chg="mod">
          <ac:chgData name="Haavard Oestensen" userId="e1d95b87-88f0-4af7-a86d-fc8ee67ecb16" providerId="ADAL" clId="{1C37024E-9836-4EFE-98E3-569479564779}" dt="2022-06-06T02:50:37.331" v="2159" actId="1076"/>
          <ac:spMkLst>
            <pc:docMk/>
            <pc:sldMk cId="2885801788" sldId="2142532338"/>
            <ac:spMk id="58" creationId="{6C27340C-5590-4C0C-8275-7ABA9999A5B7}"/>
          </ac:spMkLst>
        </pc:spChg>
      </pc:sldChg>
      <pc:sldChg chg="add">
        <pc:chgData name="Haavard Oestensen" userId="e1d95b87-88f0-4af7-a86d-fc8ee67ecb16" providerId="ADAL" clId="{1C37024E-9836-4EFE-98E3-569479564779}" dt="2022-06-06T04:02:33.916" v="2304"/>
        <pc:sldMkLst>
          <pc:docMk/>
          <pc:sldMk cId="3445649443" sldId="2143187629"/>
        </pc:sldMkLst>
      </pc:sldChg>
      <pc:sldChg chg="del">
        <pc:chgData name="Haavard Oestensen" userId="e1d95b87-88f0-4af7-a86d-fc8ee67ecb16" providerId="ADAL" clId="{1C37024E-9836-4EFE-98E3-569479564779}" dt="2022-06-06T04:02:26.791" v="2303" actId="2696"/>
        <pc:sldMkLst>
          <pc:docMk/>
          <pc:sldMk cId="3966063722" sldId="2143187629"/>
        </pc:sldMkLst>
      </pc:sldChg>
      <pc:sldChg chg="modSp mod ord">
        <pc:chgData name="Haavard Oestensen" userId="e1d95b87-88f0-4af7-a86d-fc8ee67ecb16" providerId="ADAL" clId="{1C37024E-9836-4EFE-98E3-569479564779}" dt="2022-06-05T16:12:06.064" v="1977"/>
        <pc:sldMkLst>
          <pc:docMk/>
          <pc:sldMk cId="1923147543" sldId="2143187630"/>
        </pc:sldMkLst>
        <pc:spChg chg="mod">
          <ac:chgData name="Haavard Oestensen" userId="e1d95b87-88f0-4af7-a86d-fc8ee67ecb16" providerId="ADAL" clId="{1C37024E-9836-4EFE-98E3-569479564779}" dt="2022-06-05T15:27:58.258" v="367" actId="1076"/>
          <ac:spMkLst>
            <pc:docMk/>
            <pc:sldMk cId="1923147543" sldId="2143187630"/>
            <ac:spMk id="3" creationId="{7BF8A8D4-B56E-43EE-A725-6FAAF149D0FB}"/>
          </ac:spMkLst>
        </pc:spChg>
      </pc:sldChg>
      <pc:sldChg chg="addSp delSp modSp mod">
        <pc:chgData name="Haavard Oestensen" userId="e1d95b87-88f0-4af7-a86d-fc8ee67ecb16" providerId="ADAL" clId="{1C37024E-9836-4EFE-98E3-569479564779}" dt="2022-06-06T04:03:49.041" v="2322" actId="1037"/>
        <pc:sldMkLst>
          <pc:docMk/>
          <pc:sldMk cId="1104444432" sldId="2143187631"/>
        </pc:sldMkLst>
        <pc:spChg chg="mod">
          <ac:chgData name="Haavard Oestensen" userId="e1d95b87-88f0-4af7-a86d-fc8ee67ecb16" providerId="ADAL" clId="{1C37024E-9836-4EFE-98E3-569479564779}" dt="2022-06-06T04:01:00.959" v="2205" actId="20577"/>
          <ac:spMkLst>
            <pc:docMk/>
            <pc:sldMk cId="1104444432" sldId="2143187631"/>
            <ac:spMk id="2" creationId="{B052A469-174A-4F9D-80B0-FDB31ED9CC24}"/>
          </ac:spMkLst>
        </pc:spChg>
        <pc:spChg chg="mod">
          <ac:chgData name="Haavard Oestensen" userId="e1d95b87-88f0-4af7-a86d-fc8ee67ecb16" providerId="ADAL" clId="{1C37024E-9836-4EFE-98E3-569479564779}" dt="2022-06-05T15:37:14.592" v="508" actId="1038"/>
          <ac:spMkLst>
            <pc:docMk/>
            <pc:sldMk cId="1104444432" sldId="2143187631"/>
            <ac:spMk id="6" creationId="{D9AEB981-D171-4904-B70C-336999E26509}"/>
          </ac:spMkLst>
        </pc:spChg>
        <pc:spChg chg="mod">
          <ac:chgData name="Haavard Oestensen" userId="e1d95b87-88f0-4af7-a86d-fc8ee67ecb16" providerId="ADAL" clId="{1C37024E-9836-4EFE-98E3-569479564779}" dt="2022-06-05T15:30:40.428" v="389" actId="1076"/>
          <ac:spMkLst>
            <pc:docMk/>
            <pc:sldMk cId="1104444432" sldId="2143187631"/>
            <ac:spMk id="7" creationId="{F0C8D426-0F7C-4377-9D57-E87DC2699782}"/>
          </ac:spMkLst>
        </pc:spChg>
        <pc:spChg chg="mod">
          <ac:chgData name="Haavard Oestensen" userId="e1d95b87-88f0-4af7-a86d-fc8ee67ecb16" providerId="ADAL" clId="{1C37024E-9836-4EFE-98E3-569479564779}" dt="2022-06-05T15:37:14.592" v="508" actId="1038"/>
          <ac:spMkLst>
            <pc:docMk/>
            <pc:sldMk cId="1104444432" sldId="2143187631"/>
            <ac:spMk id="8" creationId="{D8CCE831-B022-47AB-AEE0-C91664DF7A11}"/>
          </ac:spMkLst>
        </pc:spChg>
        <pc:spChg chg="mod">
          <ac:chgData name="Haavard Oestensen" userId="e1d95b87-88f0-4af7-a86d-fc8ee67ecb16" providerId="ADAL" clId="{1C37024E-9836-4EFE-98E3-569479564779}" dt="2022-06-05T15:37:14.592" v="508" actId="1038"/>
          <ac:spMkLst>
            <pc:docMk/>
            <pc:sldMk cId="1104444432" sldId="2143187631"/>
            <ac:spMk id="9" creationId="{0D112B9C-7145-4CFB-AA41-45FC91DDB97D}"/>
          </ac:spMkLst>
        </pc:spChg>
        <pc:spChg chg="mod">
          <ac:chgData name="Haavard Oestensen" userId="e1d95b87-88f0-4af7-a86d-fc8ee67ecb16" providerId="ADAL" clId="{1C37024E-9836-4EFE-98E3-569479564779}" dt="2022-06-05T15:37:14.592" v="508" actId="1038"/>
          <ac:spMkLst>
            <pc:docMk/>
            <pc:sldMk cId="1104444432" sldId="2143187631"/>
            <ac:spMk id="10" creationId="{B513885C-34BA-4DDC-A140-E2DFADB48BDA}"/>
          </ac:spMkLst>
        </pc:spChg>
        <pc:spChg chg="mod">
          <ac:chgData name="Haavard Oestensen" userId="e1d95b87-88f0-4af7-a86d-fc8ee67ecb16" providerId="ADAL" clId="{1C37024E-9836-4EFE-98E3-569479564779}" dt="2022-06-05T15:32:30.647" v="420" actId="1076"/>
          <ac:spMkLst>
            <pc:docMk/>
            <pc:sldMk cId="1104444432" sldId="2143187631"/>
            <ac:spMk id="12" creationId="{63DEC984-75D1-4F6E-B1FD-B215401CFF49}"/>
          </ac:spMkLst>
        </pc:spChg>
        <pc:spChg chg="mod">
          <ac:chgData name="Haavard Oestensen" userId="e1d95b87-88f0-4af7-a86d-fc8ee67ecb16" providerId="ADAL" clId="{1C37024E-9836-4EFE-98E3-569479564779}" dt="2022-06-05T15:32:30.647" v="420" actId="1076"/>
          <ac:spMkLst>
            <pc:docMk/>
            <pc:sldMk cId="1104444432" sldId="2143187631"/>
            <ac:spMk id="14" creationId="{EDB5211F-0BA1-4CEC-9A86-E724AB9180A4}"/>
          </ac:spMkLst>
        </pc:spChg>
        <pc:spChg chg="mod">
          <ac:chgData name="Haavard Oestensen" userId="e1d95b87-88f0-4af7-a86d-fc8ee67ecb16" providerId="ADAL" clId="{1C37024E-9836-4EFE-98E3-569479564779}" dt="2022-06-05T15:32:30.647" v="420" actId="1076"/>
          <ac:spMkLst>
            <pc:docMk/>
            <pc:sldMk cId="1104444432" sldId="2143187631"/>
            <ac:spMk id="15" creationId="{59E7B210-E30D-4F87-AC87-370062622298}"/>
          </ac:spMkLst>
        </pc:spChg>
        <pc:spChg chg="add del mod">
          <ac:chgData name="Haavard Oestensen" userId="e1d95b87-88f0-4af7-a86d-fc8ee67ecb16" providerId="ADAL" clId="{1C37024E-9836-4EFE-98E3-569479564779}" dt="2022-06-06T04:01:00.753" v="2204" actId="478"/>
          <ac:spMkLst>
            <pc:docMk/>
            <pc:sldMk cId="1104444432" sldId="2143187631"/>
            <ac:spMk id="17" creationId="{74A0E79C-773B-41AB-B1BC-98E762BAABA9}"/>
          </ac:spMkLst>
        </pc:spChg>
        <pc:spChg chg="mod">
          <ac:chgData name="Haavard Oestensen" userId="e1d95b87-88f0-4af7-a86d-fc8ee67ecb16" providerId="ADAL" clId="{1C37024E-9836-4EFE-98E3-569479564779}" dt="2022-06-06T04:01:42.227" v="2300" actId="14100"/>
          <ac:spMkLst>
            <pc:docMk/>
            <pc:sldMk cId="1104444432" sldId="2143187631"/>
            <ac:spMk id="18" creationId="{811D0A65-B881-4043-A4DD-900CA835CB38}"/>
          </ac:spMkLst>
        </pc:spChg>
        <pc:spChg chg="add mod">
          <ac:chgData name="Haavard Oestensen" userId="e1d95b87-88f0-4af7-a86d-fc8ee67ecb16" providerId="ADAL" clId="{1C37024E-9836-4EFE-98E3-569479564779}" dt="2022-06-05T15:08:49.363" v="257" actId="20577"/>
          <ac:spMkLst>
            <pc:docMk/>
            <pc:sldMk cId="1104444432" sldId="2143187631"/>
            <ac:spMk id="20" creationId="{1FCF4DE4-4104-4914-B828-7C26FC9AE90F}"/>
          </ac:spMkLst>
        </pc:spChg>
        <pc:spChg chg="add mod">
          <ac:chgData name="Haavard Oestensen" userId="e1d95b87-88f0-4af7-a86d-fc8ee67ecb16" providerId="ADAL" clId="{1C37024E-9836-4EFE-98E3-569479564779}" dt="2022-06-05T15:39:37.567" v="550" actId="20577"/>
          <ac:spMkLst>
            <pc:docMk/>
            <pc:sldMk cId="1104444432" sldId="2143187631"/>
            <ac:spMk id="21" creationId="{A28184FA-3E1C-4D40-9F69-3E857FFB9218}"/>
          </ac:spMkLst>
        </pc:spChg>
        <pc:spChg chg="add del mod">
          <ac:chgData name="Haavard Oestensen" userId="e1d95b87-88f0-4af7-a86d-fc8ee67ecb16" providerId="ADAL" clId="{1C37024E-9836-4EFE-98E3-569479564779}" dt="2022-06-05T15:33:04.318" v="431" actId="478"/>
          <ac:spMkLst>
            <pc:docMk/>
            <pc:sldMk cId="1104444432" sldId="2143187631"/>
            <ac:spMk id="22" creationId="{84FBA731-D848-4C6D-8734-401BE786224D}"/>
          </ac:spMkLst>
        </pc:spChg>
        <pc:spChg chg="add mod">
          <ac:chgData name="Haavard Oestensen" userId="e1d95b87-88f0-4af7-a86d-fc8ee67ecb16" providerId="ADAL" clId="{1C37024E-9836-4EFE-98E3-569479564779}" dt="2022-06-06T04:00:32.096" v="2197" actId="1076"/>
          <ac:spMkLst>
            <pc:docMk/>
            <pc:sldMk cId="1104444432" sldId="2143187631"/>
            <ac:spMk id="24" creationId="{08736276-83B4-4E67-9809-0F2DB0110DA0}"/>
          </ac:spMkLst>
        </pc:spChg>
        <pc:spChg chg="add mod">
          <ac:chgData name="Haavard Oestensen" userId="e1d95b87-88f0-4af7-a86d-fc8ee67ecb16" providerId="ADAL" clId="{1C37024E-9836-4EFE-98E3-569479564779}" dt="2022-06-05T15:35:46.790" v="494" actId="1036"/>
          <ac:spMkLst>
            <pc:docMk/>
            <pc:sldMk cId="1104444432" sldId="2143187631"/>
            <ac:spMk id="25" creationId="{CA81238F-3AB3-4F6D-99D4-9448927EE97C}"/>
          </ac:spMkLst>
        </pc:spChg>
        <pc:spChg chg="add del">
          <ac:chgData name="Haavard Oestensen" userId="e1d95b87-88f0-4af7-a86d-fc8ee67ecb16" providerId="ADAL" clId="{1C37024E-9836-4EFE-98E3-569479564779}" dt="2022-06-05T15:33:11.566" v="432" actId="478"/>
          <ac:spMkLst>
            <pc:docMk/>
            <pc:sldMk cId="1104444432" sldId="2143187631"/>
            <ac:spMk id="27" creationId="{F58E40D1-6352-452A-9609-48B1CB061E67}"/>
          </ac:spMkLst>
        </pc:spChg>
        <pc:spChg chg="add mod">
          <ac:chgData name="Haavard Oestensen" userId="e1d95b87-88f0-4af7-a86d-fc8ee67ecb16" providerId="ADAL" clId="{1C37024E-9836-4EFE-98E3-569479564779}" dt="2022-06-05T15:35:46.790" v="494" actId="1036"/>
          <ac:spMkLst>
            <pc:docMk/>
            <pc:sldMk cId="1104444432" sldId="2143187631"/>
            <ac:spMk id="28" creationId="{B2CEDFDF-6217-438F-8913-3C53838AEC6C}"/>
          </ac:spMkLst>
        </pc:spChg>
        <pc:spChg chg="add mod">
          <ac:chgData name="Haavard Oestensen" userId="e1d95b87-88f0-4af7-a86d-fc8ee67ecb16" providerId="ADAL" clId="{1C37024E-9836-4EFE-98E3-569479564779}" dt="2022-06-05T15:35:46.790" v="494" actId="1036"/>
          <ac:spMkLst>
            <pc:docMk/>
            <pc:sldMk cId="1104444432" sldId="2143187631"/>
            <ac:spMk id="29" creationId="{9A40222C-4278-4681-AC46-5681FD66541B}"/>
          </ac:spMkLst>
        </pc:spChg>
        <pc:spChg chg="add mod">
          <ac:chgData name="Haavard Oestensen" userId="e1d95b87-88f0-4af7-a86d-fc8ee67ecb16" providerId="ADAL" clId="{1C37024E-9836-4EFE-98E3-569479564779}" dt="2022-06-05T15:35:46.790" v="494" actId="1036"/>
          <ac:spMkLst>
            <pc:docMk/>
            <pc:sldMk cId="1104444432" sldId="2143187631"/>
            <ac:spMk id="30" creationId="{0CA3156B-181A-44D9-89BF-4AD915690BBF}"/>
          </ac:spMkLst>
        </pc:spChg>
        <pc:spChg chg="add mod">
          <ac:chgData name="Haavard Oestensen" userId="e1d95b87-88f0-4af7-a86d-fc8ee67ecb16" providerId="ADAL" clId="{1C37024E-9836-4EFE-98E3-569479564779}" dt="2022-06-05T15:35:46.790" v="494" actId="1036"/>
          <ac:spMkLst>
            <pc:docMk/>
            <pc:sldMk cId="1104444432" sldId="2143187631"/>
            <ac:spMk id="31" creationId="{85DED9A8-E593-4942-A193-21E99C92E2FF}"/>
          </ac:spMkLst>
        </pc:spChg>
        <pc:spChg chg="add mod">
          <ac:chgData name="Haavard Oestensen" userId="e1d95b87-88f0-4af7-a86d-fc8ee67ecb16" providerId="ADAL" clId="{1C37024E-9836-4EFE-98E3-569479564779}" dt="2022-06-05T15:35:46.790" v="494" actId="1036"/>
          <ac:spMkLst>
            <pc:docMk/>
            <pc:sldMk cId="1104444432" sldId="2143187631"/>
            <ac:spMk id="32" creationId="{E1786414-54F2-45E3-AD84-CBDC025D73BD}"/>
          </ac:spMkLst>
        </pc:spChg>
        <pc:spChg chg="add mod">
          <ac:chgData name="Haavard Oestensen" userId="e1d95b87-88f0-4af7-a86d-fc8ee67ecb16" providerId="ADAL" clId="{1C37024E-9836-4EFE-98E3-569479564779}" dt="2022-06-05T15:35:46.790" v="494" actId="1036"/>
          <ac:spMkLst>
            <pc:docMk/>
            <pc:sldMk cId="1104444432" sldId="2143187631"/>
            <ac:spMk id="33" creationId="{096B49E5-56D4-46F8-B68E-BC5AAD1D28C8}"/>
          </ac:spMkLst>
        </pc:spChg>
        <pc:spChg chg="add mod">
          <ac:chgData name="Haavard Oestensen" userId="e1d95b87-88f0-4af7-a86d-fc8ee67ecb16" providerId="ADAL" clId="{1C37024E-9836-4EFE-98E3-569479564779}" dt="2022-06-06T04:00:57.374" v="2201" actId="571"/>
          <ac:spMkLst>
            <pc:docMk/>
            <pc:sldMk cId="1104444432" sldId="2143187631"/>
            <ac:spMk id="35" creationId="{05D6F3A6-3534-44B9-9763-DC5CCBA41DD0}"/>
          </ac:spMkLst>
        </pc:spChg>
        <pc:spChg chg="add mod ord">
          <ac:chgData name="Haavard Oestensen" userId="e1d95b87-88f0-4af7-a86d-fc8ee67ecb16" providerId="ADAL" clId="{1C37024E-9836-4EFE-98E3-569479564779}" dt="2022-06-06T04:03:07.211" v="2312" actId="14100"/>
          <ac:spMkLst>
            <pc:docMk/>
            <pc:sldMk cId="1104444432" sldId="2143187631"/>
            <ac:spMk id="39" creationId="{CAD5C025-E2D2-4AA4-BA2A-29EB05636281}"/>
          </ac:spMkLst>
        </pc:spChg>
        <pc:spChg chg="add mod">
          <ac:chgData name="Haavard Oestensen" userId="e1d95b87-88f0-4af7-a86d-fc8ee67ecb16" providerId="ADAL" clId="{1C37024E-9836-4EFE-98E3-569479564779}" dt="2022-06-06T04:01:10.328" v="2209" actId="20577"/>
          <ac:spMkLst>
            <pc:docMk/>
            <pc:sldMk cId="1104444432" sldId="2143187631"/>
            <ac:spMk id="40" creationId="{CDFC6121-BE51-466F-99C6-BBE47A7465C2}"/>
          </ac:spMkLst>
        </pc:spChg>
        <pc:spChg chg="add mod">
          <ac:chgData name="Haavard Oestensen" userId="e1d95b87-88f0-4af7-a86d-fc8ee67ecb16" providerId="ADAL" clId="{1C37024E-9836-4EFE-98E3-569479564779}" dt="2022-06-06T04:01:51.831" v="2302" actId="1076"/>
          <ac:spMkLst>
            <pc:docMk/>
            <pc:sldMk cId="1104444432" sldId="2143187631"/>
            <ac:spMk id="41" creationId="{50849ADA-4972-48A6-85B0-5DE121F0177A}"/>
          </ac:spMkLst>
        </pc:spChg>
        <pc:grpChg chg="del mod">
          <ac:chgData name="Haavard Oestensen" userId="e1d95b87-88f0-4af7-a86d-fc8ee67ecb16" providerId="ADAL" clId="{1C37024E-9836-4EFE-98E3-569479564779}" dt="2022-06-06T04:02:47.626" v="2305" actId="478"/>
          <ac:grpSpMkLst>
            <pc:docMk/>
            <pc:sldMk cId="1104444432" sldId="2143187631"/>
            <ac:grpSpMk id="16" creationId="{FD4846C0-E379-479A-9F36-382F8703E7CD}"/>
          </ac:grpSpMkLst>
        </pc:grpChg>
        <pc:picChg chg="add mod modCrop">
          <ac:chgData name="Haavard Oestensen" userId="e1d95b87-88f0-4af7-a86d-fc8ee67ecb16" providerId="ADAL" clId="{1C37024E-9836-4EFE-98E3-569479564779}" dt="2022-06-06T04:03:49.041" v="2322" actId="1037"/>
          <ac:picMkLst>
            <pc:docMk/>
            <pc:sldMk cId="1104444432" sldId="2143187631"/>
            <ac:picMk id="4" creationId="{5F538CD7-B283-4747-B167-0552DD454864}"/>
          </ac:picMkLst>
        </pc:picChg>
        <pc:picChg chg="mod">
          <ac:chgData name="Haavard Oestensen" userId="e1d95b87-88f0-4af7-a86d-fc8ee67ecb16" providerId="ADAL" clId="{1C37024E-9836-4EFE-98E3-569479564779}" dt="2022-06-05T15:32:30.647" v="420" actId="1076"/>
          <ac:picMkLst>
            <pc:docMk/>
            <pc:sldMk cId="1104444432" sldId="2143187631"/>
            <ac:picMk id="11" creationId="{34765F81-0113-4B77-A011-F7196A5E98A7}"/>
          </ac:picMkLst>
        </pc:picChg>
        <pc:picChg chg="mod">
          <ac:chgData name="Haavard Oestensen" userId="e1d95b87-88f0-4af7-a86d-fc8ee67ecb16" providerId="ADAL" clId="{1C37024E-9836-4EFE-98E3-569479564779}" dt="2022-06-05T15:32:30.647" v="420" actId="1076"/>
          <ac:picMkLst>
            <pc:docMk/>
            <pc:sldMk cId="1104444432" sldId="2143187631"/>
            <ac:picMk id="13" creationId="{75666DDD-0819-4C93-83C0-93CA21F352F4}"/>
          </ac:picMkLst>
        </pc:picChg>
        <pc:picChg chg="del">
          <ac:chgData name="Haavard Oestensen" userId="e1d95b87-88f0-4af7-a86d-fc8ee67ecb16" providerId="ADAL" clId="{1C37024E-9836-4EFE-98E3-569479564779}" dt="2022-06-05T15:29:42.721" v="380" actId="478"/>
          <ac:picMkLst>
            <pc:docMk/>
            <pc:sldMk cId="1104444432" sldId="2143187631"/>
            <ac:picMk id="19" creationId="{F3C17941-5045-4532-B120-7B00074625D8}"/>
          </ac:picMkLst>
        </pc:picChg>
        <pc:picChg chg="add mod">
          <ac:chgData name="Haavard Oestensen" userId="e1d95b87-88f0-4af7-a86d-fc8ee67ecb16" providerId="ADAL" clId="{1C37024E-9836-4EFE-98E3-569479564779}" dt="2022-06-05T15:39:03.004" v="541" actId="1038"/>
          <ac:picMkLst>
            <pc:docMk/>
            <pc:sldMk cId="1104444432" sldId="2143187631"/>
            <ac:picMk id="34" creationId="{7B8ABCC9-F95A-4E5C-92B6-DECA70EF6D07}"/>
          </ac:picMkLst>
        </pc:picChg>
        <pc:picChg chg="add del mod">
          <ac:chgData name="Haavard Oestensen" userId="e1d95b87-88f0-4af7-a86d-fc8ee67ecb16" providerId="ADAL" clId="{1C37024E-9836-4EFE-98E3-569479564779}" dt="2022-06-05T15:38:44.961" v="531" actId="478"/>
          <ac:picMkLst>
            <pc:docMk/>
            <pc:sldMk cId="1104444432" sldId="2143187631"/>
            <ac:picMk id="35" creationId="{A822FFBE-AAA9-4FEF-B17B-06E821E08723}"/>
          </ac:picMkLst>
        </pc:picChg>
        <pc:picChg chg="add mod">
          <ac:chgData name="Haavard Oestensen" userId="e1d95b87-88f0-4af7-a86d-fc8ee67ecb16" providerId="ADAL" clId="{1C37024E-9836-4EFE-98E3-569479564779}" dt="2022-06-05T15:39:03.004" v="541" actId="1038"/>
          <ac:picMkLst>
            <pc:docMk/>
            <pc:sldMk cId="1104444432" sldId="2143187631"/>
            <ac:picMk id="36" creationId="{CCFD0218-B876-4552-9C23-AC6268544086}"/>
          </ac:picMkLst>
        </pc:picChg>
        <pc:picChg chg="add mod">
          <ac:chgData name="Haavard Oestensen" userId="e1d95b87-88f0-4af7-a86d-fc8ee67ecb16" providerId="ADAL" clId="{1C37024E-9836-4EFE-98E3-569479564779}" dt="2022-06-05T15:39:03.004" v="541" actId="1038"/>
          <ac:picMkLst>
            <pc:docMk/>
            <pc:sldMk cId="1104444432" sldId="2143187631"/>
            <ac:picMk id="37" creationId="{18AD3CEF-22B9-40D0-98AF-7DFF7D4B10FD}"/>
          </ac:picMkLst>
        </pc:picChg>
        <pc:picChg chg="add mod">
          <ac:chgData name="Haavard Oestensen" userId="e1d95b87-88f0-4af7-a86d-fc8ee67ecb16" providerId="ADAL" clId="{1C37024E-9836-4EFE-98E3-569479564779}" dt="2022-06-05T15:39:03.004" v="541" actId="1038"/>
          <ac:picMkLst>
            <pc:docMk/>
            <pc:sldMk cId="1104444432" sldId="2143187631"/>
            <ac:picMk id="38" creationId="{82AF08F5-B7C0-48B0-9317-1FDA1D403B92}"/>
          </ac:picMkLst>
        </pc:picChg>
        <pc:picChg chg="add del mod">
          <ac:chgData name="Haavard Oestensen" userId="e1d95b87-88f0-4af7-a86d-fc8ee67ecb16" providerId="ADAL" clId="{1C37024E-9836-4EFE-98E3-569479564779}" dt="2022-06-06T04:03:19.876" v="2314" actId="478"/>
          <ac:picMkLst>
            <pc:docMk/>
            <pc:sldMk cId="1104444432" sldId="2143187631"/>
            <ac:picMk id="42" creationId="{5DF0F447-68FB-4759-9AB9-EDC26B344FAA}"/>
          </ac:picMkLst>
        </pc:picChg>
      </pc:sldChg>
      <pc:sldChg chg="del">
        <pc:chgData name="Haavard Oestensen" userId="e1d95b87-88f0-4af7-a86d-fc8ee67ecb16" providerId="ADAL" clId="{1C37024E-9836-4EFE-98E3-569479564779}" dt="2022-06-06T04:05:08.142" v="2373" actId="47"/>
        <pc:sldMkLst>
          <pc:docMk/>
          <pc:sldMk cId="1814083762" sldId="2143187632"/>
        </pc:sldMkLst>
      </pc:sldChg>
      <pc:sldChg chg="modSp mod ord">
        <pc:chgData name="Haavard Oestensen" userId="e1d95b87-88f0-4af7-a86d-fc8ee67ecb16" providerId="ADAL" clId="{1C37024E-9836-4EFE-98E3-569479564779}" dt="2022-06-06T05:08:16.285" v="2451" actId="20577"/>
        <pc:sldMkLst>
          <pc:docMk/>
          <pc:sldMk cId="730458978" sldId="2143187633"/>
        </pc:sldMkLst>
        <pc:spChg chg="mod">
          <ac:chgData name="Haavard Oestensen" userId="e1d95b87-88f0-4af7-a86d-fc8ee67ecb16" providerId="ADAL" clId="{1C37024E-9836-4EFE-98E3-569479564779}" dt="2022-06-06T05:08:16.285" v="2451" actId="20577"/>
          <ac:spMkLst>
            <pc:docMk/>
            <pc:sldMk cId="730458978" sldId="2143187633"/>
            <ac:spMk id="8" creationId="{C0E3B862-48C6-473C-B44A-6746D318265F}"/>
          </ac:spMkLst>
        </pc:spChg>
      </pc:sldChg>
      <pc:sldChg chg="addSp modSp del mod ord">
        <pc:chgData name="Haavard Oestensen" userId="e1d95b87-88f0-4af7-a86d-fc8ee67ecb16" providerId="ADAL" clId="{1C37024E-9836-4EFE-98E3-569479564779}" dt="2022-06-06T04:47:58.140" v="2389" actId="47"/>
        <pc:sldMkLst>
          <pc:docMk/>
          <pc:sldMk cId="219253317" sldId="2143187634"/>
        </pc:sldMkLst>
        <pc:spChg chg="mod">
          <ac:chgData name="Haavard Oestensen" userId="e1d95b87-88f0-4af7-a86d-fc8ee67ecb16" providerId="ADAL" clId="{1C37024E-9836-4EFE-98E3-569479564779}" dt="2022-06-05T15:30:52.222" v="390" actId="164"/>
          <ac:spMkLst>
            <pc:docMk/>
            <pc:sldMk cId="219253317" sldId="2143187634"/>
            <ac:spMk id="40" creationId="{15E87105-72E2-460D-BC51-9D2595560079}"/>
          </ac:spMkLst>
        </pc:spChg>
        <pc:spChg chg="mod">
          <ac:chgData name="Haavard Oestensen" userId="e1d95b87-88f0-4af7-a86d-fc8ee67ecb16" providerId="ADAL" clId="{1C37024E-9836-4EFE-98E3-569479564779}" dt="2022-06-05T15:30:55.748" v="391" actId="164"/>
          <ac:spMkLst>
            <pc:docMk/>
            <pc:sldMk cId="219253317" sldId="2143187634"/>
            <ac:spMk id="42" creationId="{AF5D243C-E084-4E84-8820-15327535B681}"/>
          </ac:spMkLst>
        </pc:spChg>
        <pc:spChg chg="mod">
          <ac:chgData name="Haavard Oestensen" userId="e1d95b87-88f0-4af7-a86d-fc8ee67ecb16" providerId="ADAL" clId="{1C37024E-9836-4EFE-98E3-569479564779}" dt="2022-06-05T15:31:00.537" v="392" actId="164"/>
          <ac:spMkLst>
            <pc:docMk/>
            <pc:sldMk cId="219253317" sldId="2143187634"/>
            <ac:spMk id="43" creationId="{7D5BFA66-89E3-47A5-A935-346560750DBB}"/>
          </ac:spMkLst>
        </pc:spChg>
        <pc:grpChg chg="add mod">
          <ac:chgData name="Haavard Oestensen" userId="e1d95b87-88f0-4af7-a86d-fc8ee67ecb16" providerId="ADAL" clId="{1C37024E-9836-4EFE-98E3-569479564779}" dt="2022-06-05T15:31:14.709" v="399" actId="1036"/>
          <ac:grpSpMkLst>
            <pc:docMk/>
            <pc:sldMk cId="219253317" sldId="2143187634"/>
            <ac:grpSpMk id="3" creationId="{27CC21AE-97E7-431F-8438-E47921C3FCEA}"/>
          </ac:grpSpMkLst>
        </pc:grpChg>
        <pc:grpChg chg="add mod">
          <ac:chgData name="Haavard Oestensen" userId="e1d95b87-88f0-4af7-a86d-fc8ee67ecb16" providerId="ADAL" clId="{1C37024E-9836-4EFE-98E3-569479564779}" dt="2022-06-05T15:31:14.709" v="399" actId="1036"/>
          <ac:grpSpMkLst>
            <pc:docMk/>
            <pc:sldMk cId="219253317" sldId="2143187634"/>
            <ac:grpSpMk id="4" creationId="{04962323-80F7-408E-A6B7-CE6D1E8FB21A}"/>
          </ac:grpSpMkLst>
        </pc:grpChg>
        <pc:grpChg chg="add mod">
          <ac:chgData name="Haavard Oestensen" userId="e1d95b87-88f0-4af7-a86d-fc8ee67ecb16" providerId="ADAL" clId="{1C37024E-9836-4EFE-98E3-569479564779}" dt="2022-06-05T15:31:14.709" v="399" actId="1036"/>
          <ac:grpSpMkLst>
            <pc:docMk/>
            <pc:sldMk cId="219253317" sldId="2143187634"/>
            <ac:grpSpMk id="6" creationId="{B47E9BEC-B8C7-4CB2-9F26-BF91F931ACFC}"/>
          </ac:grpSpMkLst>
        </pc:grpChg>
        <pc:picChg chg="mod">
          <ac:chgData name="Haavard Oestensen" userId="e1d95b87-88f0-4af7-a86d-fc8ee67ecb16" providerId="ADAL" clId="{1C37024E-9836-4EFE-98E3-569479564779}" dt="2022-06-05T15:30:52.222" v="390" actId="164"/>
          <ac:picMkLst>
            <pc:docMk/>
            <pc:sldMk cId="219253317" sldId="2143187634"/>
            <ac:picMk id="45" creationId="{8FC7BA45-853C-411A-B51F-6115739B27EE}"/>
          </ac:picMkLst>
        </pc:picChg>
        <pc:picChg chg="mod">
          <ac:chgData name="Haavard Oestensen" userId="e1d95b87-88f0-4af7-a86d-fc8ee67ecb16" providerId="ADAL" clId="{1C37024E-9836-4EFE-98E3-569479564779}" dt="2022-06-05T15:30:55.748" v="391" actId="164"/>
          <ac:picMkLst>
            <pc:docMk/>
            <pc:sldMk cId="219253317" sldId="2143187634"/>
            <ac:picMk id="47" creationId="{1744E654-772D-4DAB-BB66-2CE6E4842116}"/>
          </ac:picMkLst>
        </pc:picChg>
        <pc:picChg chg="mod">
          <ac:chgData name="Haavard Oestensen" userId="e1d95b87-88f0-4af7-a86d-fc8ee67ecb16" providerId="ADAL" clId="{1C37024E-9836-4EFE-98E3-569479564779}" dt="2022-06-05T15:31:00.537" v="392" actId="164"/>
          <ac:picMkLst>
            <pc:docMk/>
            <pc:sldMk cId="219253317" sldId="2143187634"/>
            <ac:picMk id="48" creationId="{8E5E9486-BB9E-4746-BD22-204CE7A73F9F}"/>
          </ac:picMkLst>
        </pc:picChg>
      </pc:sldChg>
      <pc:sldChg chg="del">
        <pc:chgData name="Haavard Oestensen" userId="e1d95b87-88f0-4af7-a86d-fc8ee67ecb16" providerId="ADAL" clId="{1C37024E-9836-4EFE-98E3-569479564779}" dt="2022-06-05T16:24:07.018" v="2058" actId="47"/>
        <pc:sldMkLst>
          <pc:docMk/>
          <pc:sldMk cId="1440331214" sldId="2143187635"/>
        </pc:sldMkLst>
      </pc:sldChg>
      <pc:sldChg chg="modSp del mod ord">
        <pc:chgData name="Haavard Oestensen" userId="e1d95b87-88f0-4af7-a86d-fc8ee67ecb16" providerId="ADAL" clId="{1C37024E-9836-4EFE-98E3-569479564779}" dt="2022-06-06T05:04:07.097" v="2390" actId="47"/>
        <pc:sldMkLst>
          <pc:docMk/>
          <pc:sldMk cId="948101737" sldId="2143187636"/>
        </pc:sldMkLst>
        <pc:spChg chg="mod">
          <ac:chgData name="Haavard Oestensen" userId="e1d95b87-88f0-4af7-a86d-fc8ee67ecb16" providerId="ADAL" clId="{1C37024E-9836-4EFE-98E3-569479564779}" dt="2022-06-06T04:04:31.100" v="2370" actId="20577"/>
          <ac:spMkLst>
            <pc:docMk/>
            <pc:sldMk cId="948101737" sldId="2143187636"/>
            <ac:spMk id="7" creationId="{275D29FB-D099-4CA0-8C63-6F5B09C4D4F2}"/>
          </ac:spMkLst>
        </pc:spChg>
      </pc:sldChg>
      <pc:sldChg chg="addSp delSp modSp add del mod ord modShow">
        <pc:chgData name="Haavard Oestensen" userId="e1d95b87-88f0-4af7-a86d-fc8ee67ecb16" providerId="ADAL" clId="{1C37024E-9836-4EFE-98E3-569479564779}" dt="2022-06-06T05:04:16.014" v="2391" actId="47"/>
        <pc:sldMkLst>
          <pc:docMk/>
          <pc:sldMk cId="1193894713" sldId="2143187637"/>
        </pc:sldMkLst>
        <pc:spChg chg="add del mod">
          <ac:chgData name="Haavard Oestensen" userId="e1d95b87-88f0-4af7-a86d-fc8ee67ecb16" providerId="ADAL" clId="{1C37024E-9836-4EFE-98E3-569479564779}" dt="2022-06-05T15:08:21.877" v="245" actId="478"/>
          <ac:spMkLst>
            <pc:docMk/>
            <pc:sldMk cId="1193894713" sldId="2143187637"/>
            <ac:spMk id="24" creationId="{D07F99DD-04AF-4518-8EE2-D0048FE06C00}"/>
          </ac:spMkLst>
        </pc:spChg>
        <pc:spChg chg="add mod">
          <ac:chgData name="Haavard Oestensen" userId="e1d95b87-88f0-4af7-a86d-fc8ee67ecb16" providerId="ADAL" clId="{1C37024E-9836-4EFE-98E3-569479564779}" dt="2022-06-05T15:08:22.381" v="246"/>
          <ac:spMkLst>
            <pc:docMk/>
            <pc:sldMk cId="1193894713" sldId="2143187637"/>
            <ac:spMk id="26" creationId="{28F3B496-C210-4D96-B22B-432805F1256A}"/>
          </ac:spMkLst>
        </pc:spChg>
      </pc:sldChg>
      <pc:sldChg chg="modSp add del ord">
        <pc:chgData name="Haavard Oestensen" userId="e1d95b87-88f0-4af7-a86d-fc8ee67ecb16" providerId="ADAL" clId="{1C37024E-9836-4EFE-98E3-569479564779}" dt="2022-06-05T16:34:56.538" v="2158"/>
        <pc:sldMkLst>
          <pc:docMk/>
          <pc:sldMk cId="2525074752" sldId="2145707500"/>
        </pc:sldMkLst>
        <pc:spChg chg="mod">
          <ac:chgData name="Haavard Oestensen" userId="e1d95b87-88f0-4af7-a86d-fc8ee67ecb16" providerId="ADAL" clId="{1C37024E-9836-4EFE-98E3-569479564779}" dt="2022-06-05T15:49:06.188" v="558" actId="14100"/>
          <ac:spMkLst>
            <pc:docMk/>
            <pc:sldMk cId="2525074752" sldId="2145707500"/>
            <ac:spMk id="8" creationId="{4D028A1C-C7F2-4936-B844-7738576E27AC}"/>
          </ac:spMkLst>
        </pc:spChg>
      </pc:sldChg>
      <pc:sldChg chg="add del mod ord modShow">
        <pc:chgData name="Haavard Oestensen" userId="e1d95b87-88f0-4af7-a86d-fc8ee67ecb16" providerId="ADAL" clId="{1C37024E-9836-4EFE-98E3-569479564779}" dt="2022-06-05T15:45:02.209" v="553" actId="47"/>
        <pc:sldMkLst>
          <pc:docMk/>
          <pc:sldMk cId="2031996927" sldId="2146846966"/>
        </pc:sldMkLst>
      </pc:sldChg>
      <pc:sldChg chg="addSp delSp modSp add mod ord modShow">
        <pc:chgData name="Haavard Oestensen" userId="e1d95b87-88f0-4af7-a86d-fc8ee67ecb16" providerId="ADAL" clId="{1C37024E-9836-4EFE-98E3-569479564779}" dt="2022-06-06T05:09:57.606" v="2454" actId="729"/>
        <pc:sldMkLst>
          <pc:docMk/>
          <pc:sldMk cId="3351204741" sldId="2146846967"/>
        </pc:sldMkLst>
        <pc:spChg chg="add mod">
          <ac:chgData name="Haavard Oestensen" userId="e1d95b87-88f0-4af7-a86d-fc8ee67ecb16" providerId="ADAL" clId="{1C37024E-9836-4EFE-98E3-569479564779}" dt="2022-06-05T15:17:39.573" v="307" actId="207"/>
          <ac:spMkLst>
            <pc:docMk/>
            <pc:sldMk cId="3351204741" sldId="2146846967"/>
            <ac:spMk id="2" creationId="{B15F4B8D-314D-4C04-BCCF-714AC5F7287E}"/>
          </ac:spMkLst>
        </pc:spChg>
        <pc:spChg chg="add mod">
          <ac:chgData name="Haavard Oestensen" userId="e1d95b87-88f0-4af7-a86d-fc8ee67ecb16" providerId="ADAL" clId="{1C37024E-9836-4EFE-98E3-569479564779}" dt="2022-06-05T15:18:06.242" v="336" actId="1076"/>
          <ac:spMkLst>
            <pc:docMk/>
            <pc:sldMk cId="3351204741" sldId="2146846967"/>
            <ac:spMk id="4" creationId="{077164E2-6062-494E-AB1E-15AD2FBE49CB}"/>
          </ac:spMkLst>
        </pc:spChg>
        <pc:spChg chg="del">
          <ac:chgData name="Haavard Oestensen" userId="e1d95b87-88f0-4af7-a86d-fc8ee67ecb16" providerId="ADAL" clId="{1C37024E-9836-4EFE-98E3-569479564779}" dt="2022-06-05T15:17:19.153" v="266" actId="478"/>
          <ac:spMkLst>
            <pc:docMk/>
            <pc:sldMk cId="3351204741" sldId="2146846967"/>
            <ac:spMk id="8" creationId="{C0E3B862-48C6-473C-B44A-6746D318265F}"/>
          </ac:spMkLst>
        </pc:spChg>
        <pc:picChg chg="del mod">
          <ac:chgData name="Haavard Oestensen" userId="e1d95b87-88f0-4af7-a86d-fc8ee67ecb16" providerId="ADAL" clId="{1C37024E-9836-4EFE-98E3-569479564779}" dt="2022-06-06T04:05:53.543" v="2376" actId="478"/>
          <ac:picMkLst>
            <pc:docMk/>
            <pc:sldMk cId="3351204741" sldId="2146846967"/>
            <ac:picMk id="6" creationId="{3B445F8B-11B9-458F-880D-D5948F0FBED1}"/>
          </ac:picMkLst>
        </pc:picChg>
        <pc:picChg chg="add del mod ord">
          <ac:chgData name="Haavard Oestensen" userId="e1d95b87-88f0-4af7-a86d-fc8ee67ecb16" providerId="ADAL" clId="{1C37024E-9836-4EFE-98E3-569479564779}" dt="2022-06-06T04:05:56.260" v="2377" actId="478"/>
          <ac:picMkLst>
            <pc:docMk/>
            <pc:sldMk cId="3351204741" sldId="2146846967"/>
            <ac:picMk id="7" creationId="{A2A6C854-746A-4A10-B30A-6EA5BA8CFFBD}"/>
          </ac:picMkLst>
        </pc:picChg>
        <pc:picChg chg="add mod ord">
          <ac:chgData name="Haavard Oestensen" userId="e1d95b87-88f0-4af7-a86d-fc8ee67ecb16" providerId="ADAL" clId="{1C37024E-9836-4EFE-98E3-569479564779}" dt="2022-06-06T04:06:04.759" v="2379" actId="167"/>
          <ac:picMkLst>
            <pc:docMk/>
            <pc:sldMk cId="3351204741" sldId="2146846967"/>
            <ac:picMk id="8" creationId="{681AD937-47F4-4D9C-A423-DA5C7B164591}"/>
          </ac:picMkLst>
        </pc:picChg>
      </pc:sldChg>
      <pc:sldChg chg="addSp delSp modSp new del mod ord">
        <pc:chgData name="Haavard Oestensen" userId="e1d95b87-88f0-4af7-a86d-fc8ee67ecb16" providerId="ADAL" clId="{1C37024E-9836-4EFE-98E3-569479564779}" dt="2022-06-06T03:25:39.668" v="2161" actId="47"/>
        <pc:sldMkLst>
          <pc:docMk/>
          <pc:sldMk cId="4115761890" sldId="2146846968"/>
        </pc:sldMkLst>
        <pc:spChg chg="mod">
          <ac:chgData name="Haavard Oestensen" userId="e1d95b87-88f0-4af7-a86d-fc8ee67ecb16" providerId="ADAL" clId="{1C37024E-9836-4EFE-98E3-569479564779}" dt="2022-06-05T16:08:04.904" v="1634"/>
          <ac:spMkLst>
            <pc:docMk/>
            <pc:sldMk cId="4115761890" sldId="2146846968"/>
            <ac:spMk id="2" creationId="{C081CED5-0D77-4489-838A-B208A2C9ACAF}"/>
          </ac:spMkLst>
        </pc:spChg>
        <pc:spChg chg="del">
          <ac:chgData name="Haavard Oestensen" userId="e1d95b87-88f0-4af7-a86d-fc8ee67ecb16" providerId="ADAL" clId="{1C37024E-9836-4EFE-98E3-569479564779}" dt="2022-06-05T15:50:16.905" v="566" actId="478"/>
          <ac:spMkLst>
            <pc:docMk/>
            <pc:sldMk cId="4115761890" sldId="2146846968"/>
            <ac:spMk id="3" creationId="{5D931B88-DFFF-497E-ADF7-3F03E11F8E54}"/>
          </ac:spMkLst>
        </pc:spChg>
        <pc:spChg chg="del">
          <ac:chgData name="Haavard Oestensen" userId="e1d95b87-88f0-4af7-a86d-fc8ee67ecb16" providerId="ADAL" clId="{1C37024E-9836-4EFE-98E3-569479564779}" dt="2022-06-05T16:08:10.947" v="1635" actId="478"/>
          <ac:spMkLst>
            <pc:docMk/>
            <pc:sldMk cId="4115761890" sldId="2146846968"/>
            <ac:spMk id="4" creationId="{D3A51033-88A5-4566-88D4-F9BB84C3E750}"/>
          </ac:spMkLst>
        </pc:spChg>
        <pc:spChg chg="del mod">
          <ac:chgData name="Haavard Oestensen" userId="e1d95b87-88f0-4af7-a86d-fc8ee67ecb16" providerId="ADAL" clId="{1C37024E-9836-4EFE-98E3-569479564779}" dt="2022-06-05T15:55:54.920" v="890" actId="478"/>
          <ac:spMkLst>
            <pc:docMk/>
            <pc:sldMk cId="4115761890" sldId="2146846968"/>
            <ac:spMk id="5" creationId="{7D82350A-2B46-4793-9985-A63100F78203}"/>
          </ac:spMkLst>
        </pc:spChg>
        <pc:spChg chg="add mod">
          <ac:chgData name="Haavard Oestensen" userId="e1d95b87-88f0-4af7-a86d-fc8ee67ecb16" providerId="ADAL" clId="{1C37024E-9836-4EFE-98E3-569479564779}" dt="2022-06-05T15:50:20.274" v="568" actId="1076"/>
          <ac:spMkLst>
            <pc:docMk/>
            <pc:sldMk cId="4115761890" sldId="2146846968"/>
            <ac:spMk id="6" creationId="{E4475C1C-4F2E-47A7-803B-2FA8DFA438CE}"/>
          </ac:spMkLst>
        </pc:spChg>
        <pc:spChg chg="add mod">
          <ac:chgData name="Haavard Oestensen" userId="e1d95b87-88f0-4af7-a86d-fc8ee67ecb16" providerId="ADAL" clId="{1C37024E-9836-4EFE-98E3-569479564779}" dt="2022-06-05T15:50:20.274" v="568" actId="1076"/>
          <ac:spMkLst>
            <pc:docMk/>
            <pc:sldMk cId="4115761890" sldId="2146846968"/>
            <ac:spMk id="7" creationId="{D1C2BE71-BF99-4C0C-9B89-5CBA9BB1A2C0}"/>
          </ac:spMkLst>
        </pc:spChg>
        <pc:spChg chg="add mod">
          <ac:chgData name="Haavard Oestensen" userId="e1d95b87-88f0-4af7-a86d-fc8ee67ecb16" providerId="ADAL" clId="{1C37024E-9836-4EFE-98E3-569479564779}" dt="2022-06-05T16:01:57.346" v="1087" actId="255"/>
          <ac:spMkLst>
            <pc:docMk/>
            <pc:sldMk cId="4115761890" sldId="2146846968"/>
            <ac:spMk id="8" creationId="{21B560E0-E80B-4E86-A439-F3E19D82E843}"/>
          </ac:spMkLst>
        </pc:spChg>
        <pc:spChg chg="add mod">
          <ac:chgData name="Haavard Oestensen" userId="e1d95b87-88f0-4af7-a86d-fc8ee67ecb16" providerId="ADAL" clId="{1C37024E-9836-4EFE-98E3-569479564779}" dt="2022-06-05T15:50:20.274" v="568" actId="1076"/>
          <ac:spMkLst>
            <pc:docMk/>
            <pc:sldMk cId="4115761890" sldId="2146846968"/>
            <ac:spMk id="9" creationId="{1C7274F6-9353-400D-8D6E-E0FDD7158E60}"/>
          </ac:spMkLst>
        </pc:spChg>
        <pc:spChg chg="add mod">
          <ac:chgData name="Haavard Oestensen" userId="e1d95b87-88f0-4af7-a86d-fc8ee67ecb16" providerId="ADAL" clId="{1C37024E-9836-4EFE-98E3-569479564779}" dt="2022-06-05T15:50:20.274" v="568" actId="1076"/>
          <ac:spMkLst>
            <pc:docMk/>
            <pc:sldMk cId="4115761890" sldId="2146846968"/>
            <ac:spMk id="10" creationId="{C66D3CF3-11A6-4EA9-9A6D-B34B9DF04936}"/>
          </ac:spMkLst>
        </pc:spChg>
        <pc:spChg chg="add mod">
          <ac:chgData name="Haavard Oestensen" userId="e1d95b87-88f0-4af7-a86d-fc8ee67ecb16" providerId="ADAL" clId="{1C37024E-9836-4EFE-98E3-569479564779}" dt="2022-06-05T16:09:57.190" v="1947" actId="20577"/>
          <ac:spMkLst>
            <pc:docMk/>
            <pc:sldMk cId="4115761890" sldId="2146846968"/>
            <ac:spMk id="11" creationId="{956A77BB-D2D2-410D-AC57-FF1B0EA31581}"/>
          </ac:spMkLst>
        </pc:spChg>
        <pc:spChg chg="add mod">
          <ac:chgData name="Haavard Oestensen" userId="e1d95b87-88f0-4af7-a86d-fc8ee67ecb16" providerId="ADAL" clId="{1C37024E-9836-4EFE-98E3-569479564779}" dt="2022-06-05T15:50:20.274" v="568" actId="1076"/>
          <ac:spMkLst>
            <pc:docMk/>
            <pc:sldMk cId="4115761890" sldId="2146846968"/>
            <ac:spMk id="12" creationId="{9DA3D3B5-651F-40C8-8AB2-0885BD8AC252}"/>
          </ac:spMkLst>
        </pc:spChg>
        <pc:spChg chg="add mod">
          <ac:chgData name="Haavard Oestensen" userId="e1d95b87-88f0-4af7-a86d-fc8ee67ecb16" providerId="ADAL" clId="{1C37024E-9836-4EFE-98E3-569479564779}" dt="2022-06-05T15:50:20.274" v="568" actId="1076"/>
          <ac:spMkLst>
            <pc:docMk/>
            <pc:sldMk cId="4115761890" sldId="2146846968"/>
            <ac:spMk id="13" creationId="{54091D24-82D1-489C-B64D-15BE2A8F905B}"/>
          </ac:spMkLst>
        </pc:spChg>
        <pc:spChg chg="add mod">
          <ac:chgData name="Haavard Oestensen" userId="e1d95b87-88f0-4af7-a86d-fc8ee67ecb16" providerId="ADAL" clId="{1C37024E-9836-4EFE-98E3-569479564779}" dt="2022-06-05T16:08:41.968" v="1723" actId="20577"/>
          <ac:spMkLst>
            <pc:docMk/>
            <pc:sldMk cId="4115761890" sldId="2146846968"/>
            <ac:spMk id="14" creationId="{205C3230-71F7-41F1-8A28-7545BA53F7B8}"/>
          </ac:spMkLst>
        </pc:spChg>
        <pc:spChg chg="add mod">
          <ac:chgData name="Haavard Oestensen" userId="e1d95b87-88f0-4af7-a86d-fc8ee67ecb16" providerId="ADAL" clId="{1C37024E-9836-4EFE-98E3-569479564779}" dt="2022-06-05T15:50:20.274" v="568" actId="1076"/>
          <ac:spMkLst>
            <pc:docMk/>
            <pc:sldMk cId="4115761890" sldId="2146846968"/>
            <ac:spMk id="15" creationId="{41227A54-8529-401C-BF01-ABC8CEB34FE4}"/>
          </ac:spMkLst>
        </pc:spChg>
        <pc:spChg chg="add mod">
          <ac:chgData name="Haavard Oestensen" userId="e1d95b87-88f0-4af7-a86d-fc8ee67ecb16" providerId="ADAL" clId="{1C37024E-9836-4EFE-98E3-569479564779}" dt="2022-06-05T15:50:20.274" v="568" actId="1076"/>
          <ac:spMkLst>
            <pc:docMk/>
            <pc:sldMk cId="4115761890" sldId="2146846968"/>
            <ac:spMk id="16" creationId="{303B7FB8-9C5E-4481-B0AE-BEF06AE641A3}"/>
          </ac:spMkLst>
        </pc:spChg>
        <pc:spChg chg="add mod">
          <ac:chgData name="Haavard Oestensen" userId="e1d95b87-88f0-4af7-a86d-fc8ee67ecb16" providerId="ADAL" clId="{1C37024E-9836-4EFE-98E3-569479564779}" dt="2022-06-05T16:05:16.502" v="1332" actId="20577"/>
          <ac:spMkLst>
            <pc:docMk/>
            <pc:sldMk cId="4115761890" sldId="2146846968"/>
            <ac:spMk id="17" creationId="{21751595-A3B2-4A36-B2AA-ABAADDC521D2}"/>
          </ac:spMkLst>
        </pc:spChg>
        <pc:spChg chg="add mod">
          <ac:chgData name="Haavard Oestensen" userId="e1d95b87-88f0-4af7-a86d-fc8ee67ecb16" providerId="ADAL" clId="{1C37024E-9836-4EFE-98E3-569479564779}" dt="2022-06-05T16:02:59.987" v="1126" actId="692"/>
          <ac:spMkLst>
            <pc:docMk/>
            <pc:sldMk cId="4115761890" sldId="2146846968"/>
            <ac:spMk id="22" creationId="{C2F195F1-0DE3-430C-8B68-90310752AE07}"/>
          </ac:spMkLst>
        </pc:spChg>
        <pc:spChg chg="add del mod">
          <ac:chgData name="Haavard Oestensen" userId="e1d95b87-88f0-4af7-a86d-fc8ee67ecb16" providerId="ADAL" clId="{1C37024E-9836-4EFE-98E3-569479564779}" dt="2022-06-05T15:57:18.183" v="901" actId="478"/>
          <ac:spMkLst>
            <pc:docMk/>
            <pc:sldMk cId="4115761890" sldId="2146846968"/>
            <ac:spMk id="23" creationId="{63F96965-5BEE-4581-80F6-2422CE13E41D}"/>
          </ac:spMkLst>
        </pc:spChg>
        <pc:spChg chg="add mod">
          <ac:chgData name="Haavard Oestensen" userId="e1d95b87-88f0-4af7-a86d-fc8ee67ecb16" providerId="ADAL" clId="{1C37024E-9836-4EFE-98E3-569479564779}" dt="2022-06-05T16:01:37.471" v="1085" actId="1036"/>
          <ac:spMkLst>
            <pc:docMk/>
            <pc:sldMk cId="4115761890" sldId="2146846968"/>
            <ac:spMk id="24" creationId="{F0E54463-D190-4BC3-865D-ED8DAD36582E}"/>
          </ac:spMkLst>
        </pc:spChg>
        <pc:spChg chg="add mod">
          <ac:chgData name="Haavard Oestensen" userId="e1d95b87-88f0-4af7-a86d-fc8ee67ecb16" providerId="ADAL" clId="{1C37024E-9836-4EFE-98E3-569479564779}" dt="2022-06-05T16:11:34.058" v="1965" actId="14100"/>
          <ac:spMkLst>
            <pc:docMk/>
            <pc:sldMk cId="4115761890" sldId="2146846968"/>
            <ac:spMk id="25" creationId="{CD8D8776-8309-476B-A610-3E3FEE3C536F}"/>
          </ac:spMkLst>
        </pc:spChg>
        <pc:spChg chg="add mod">
          <ac:chgData name="Haavard Oestensen" userId="e1d95b87-88f0-4af7-a86d-fc8ee67ecb16" providerId="ADAL" clId="{1C37024E-9836-4EFE-98E3-569479564779}" dt="2022-06-05T16:11:16.653" v="1962" actId="113"/>
          <ac:spMkLst>
            <pc:docMk/>
            <pc:sldMk cId="4115761890" sldId="2146846968"/>
            <ac:spMk id="26" creationId="{782AF5BB-A0BF-4E33-AD91-CAA0E440D163}"/>
          </ac:spMkLst>
        </pc:spChg>
        <pc:spChg chg="add del mod">
          <ac:chgData name="Haavard Oestensen" userId="e1d95b87-88f0-4af7-a86d-fc8ee67ecb16" providerId="ADAL" clId="{1C37024E-9836-4EFE-98E3-569479564779}" dt="2022-06-05T15:55:54.920" v="890" actId="478"/>
          <ac:spMkLst>
            <pc:docMk/>
            <pc:sldMk cId="4115761890" sldId="2146846968"/>
            <ac:spMk id="27" creationId="{1E2B0C04-412E-4B25-8349-76850BDFB4E3}"/>
          </ac:spMkLst>
        </pc:spChg>
        <pc:spChg chg="add del mod">
          <ac:chgData name="Haavard Oestensen" userId="e1d95b87-88f0-4af7-a86d-fc8ee67ecb16" providerId="ADAL" clId="{1C37024E-9836-4EFE-98E3-569479564779}" dt="2022-06-05T15:55:54.920" v="890" actId="478"/>
          <ac:spMkLst>
            <pc:docMk/>
            <pc:sldMk cId="4115761890" sldId="2146846968"/>
            <ac:spMk id="28" creationId="{CC60EE3E-F283-45BB-8482-6AD3F4FA6F69}"/>
          </ac:spMkLst>
        </pc:spChg>
        <pc:spChg chg="add del mod">
          <ac:chgData name="Haavard Oestensen" userId="e1d95b87-88f0-4af7-a86d-fc8ee67ecb16" providerId="ADAL" clId="{1C37024E-9836-4EFE-98E3-569479564779}" dt="2022-06-05T15:55:54.920" v="890" actId="478"/>
          <ac:spMkLst>
            <pc:docMk/>
            <pc:sldMk cId="4115761890" sldId="2146846968"/>
            <ac:spMk id="29" creationId="{598405E5-1835-45CA-B307-FA52DC9091F1}"/>
          </ac:spMkLst>
        </pc:spChg>
        <pc:spChg chg="add del mod">
          <ac:chgData name="Haavard Oestensen" userId="e1d95b87-88f0-4af7-a86d-fc8ee67ecb16" providerId="ADAL" clId="{1C37024E-9836-4EFE-98E3-569479564779}" dt="2022-06-05T15:55:54.920" v="890" actId="478"/>
          <ac:spMkLst>
            <pc:docMk/>
            <pc:sldMk cId="4115761890" sldId="2146846968"/>
            <ac:spMk id="30" creationId="{9BD6B3C9-172E-4D06-830B-1BCE040977CC}"/>
          </ac:spMkLst>
        </pc:spChg>
        <pc:spChg chg="add mod">
          <ac:chgData name="Haavard Oestensen" userId="e1d95b87-88f0-4af7-a86d-fc8ee67ecb16" providerId="ADAL" clId="{1C37024E-9836-4EFE-98E3-569479564779}" dt="2022-06-05T16:01:37.471" v="1085" actId="1036"/>
          <ac:spMkLst>
            <pc:docMk/>
            <pc:sldMk cId="4115761890" sldId="2146846968"/>
            <ac:spMk id="31" creationId="{2DA76E7E-464A-4090-9E59-F0604DCA3994}"/>
          </ac:spMkLst>
        </pc:spChg>
        <pc:spChg chg="add mod">
          <ac:chgData name="Haavard Oestensen" userId="e1d95b87-88f0-4af7-a86d-fc8ee67ecb16" providerId="ADAL" clId="{1C37024E-9836-4EFE-98E3-569479564779}" dt="2022-06-05T16:01:37.471" v="1085" actId="1036"/>
          <ac:spMkLst>
            <pc:docMk/>
            <pc:sldMk cId="4115761890" sldId="2146846968"/>
            <ac:spMk id="32" creationId="{811704C7-D2FD-4761-9C74-91BC83CECA1B}"/>
          </ac:spMkLst>
        </pc:spChg>
        <pc:spChg chg="add del mod">
          <ac:chgData name="Haavard Oestensen" userId="e1d95b87-88f0-4af7-a86d-fc8ee67ecb16" providerId="ADAL" clId="{1C37024E-9836-4EFE-98E3-569479564779}" dt="2022-06-05T15:55:54.920" v="890" actId="478"/>
          <ac:spMkLst>
            <pc:docMk/>
            <pc:sldMk cId="4115761890" sldId="2146846968"/>
            <ac:spMk id="33" creationId="{BADC3D90-A317-4A75-B34E-3CFDFEA47584}"/>
          </ac:spMkLst>
        </pc:spChg>
        <pc:spChg chg="add mod">
          <ac:chgData name="Haavard Oestensen" userId="e1d95b87-88f0-4af7-a86d-fc8ee67ecb16" providerId="ADAL" clId="{1C37024E-9836-4EFE-98E3-569479564779}" dt="2022-06-05T16:01:37.471" v="1085" actId="1036"/>
          <ac:spMkLst>
            <pc:docMk/>
            <pc:sldMk cId="4115761890" sldId="2146846968"/>
            <ac:spMk id="40" creationId="{4F5AB7F5-F9B4-446A-9A03-942E830345EE}"/>
          </ac:spMkLst>
        </pc:spChg>
        <pc:spChg chg="add mod">
          <ac:chgData name="Haavard Oestensen" userId="e1d95b87-88f0-4af7-a86d-fc8ee67ecb16" providerId="ADAL" clId="{1C37024E-9836-4EFE-98E3-569479564779}" dt="2022-06-05T16:01:37.471" v="1085" actId="1036"/>
          <ac:spMkLst>
            <pc:docMk/>
            <pc:sldMk cId="4115761890" sldId="2146846968"/>
            <ac:spMk id="41" creationId="{E2E28912-4425-481B-976C-CE20C8C1E59A}"/>
          </ac:spMkLst>
        </pc:spChg>
        <pc:spChg chg="add del mod">
          <ac:chgData name="Haavard Oestensen" userId="e1d95b87-88f0-4af7-a86d-fc8ee67ecb16" providerId="ADAL" clId="{1C37024E-9836-4EFE-98E3-569479564779}" dt="2022-06-05T15:58:25.906" v="932" actId="478"/>
          <ac:spMkLst>
            <pc:docMk/>
            <pc:sldMk cId="4115761890" sldId="2146846968"/>
            <ac:spMk id="60" creationId="{9A59BF42-016D-4E26-AD72-5B51719F9B7A}"/>
          </ac:spMkLst>
        </pc:spChg>
        <pc:spChg chg="add mod">
          <ac:chgData name="Haavard Oestensen" userId="e1d95b87-88f0-4af7-a86d-fc8ee67ecb16" providerId="ADAL" clId="{1C37024E-9836-4EFE-98E3-569479564779}" dt="2022-06-05T16:00:35.932" v="1072" actId="571"/>
          <ac:spMkLst>
            <pc:docMk/>
            <pc:sldMk cId="4115761890" sldId="2146846968"/>
            <ac:spMk id="66" creationId="{96E30391-1663-4B50-B15B-1A32BA7A003B}"/>
          </ac:spMkLst>
        </pc:spChg>
        <pc:spChg chg="add del mod">
          <ac:chgData name="Haavard Oestensen" userId="e1d95b87-88f0-4af7-a86d-fc8ee67ecb16" providerId="ADAL" clId="{1C37024E-9836-4EFE-98E3-569479564779}" dt="2022-06-05T16:00:55.897" v="1075"/>
          <ac:spMkLst>
            <pc:docMk/>
            <pc:sldMk cId="4115761890" sldId="2146846968"/>
            <ac:spMk id="67" creationId="{245D2EA3-45AB-43AE-BBF1-249AC2E1178D}"/>
          </ac:spMkLst>
        </pc:spChg>
        <pc:spChg chg="add mod">
          <ac:chgData name="Haavard Oestensen" userId="e1d95b87-88f0-4af7-a86d-fc8ee67ecb16" providerId="ADAL" clId="{1C37024E-9836-4EFE-98E3-569479564779}" dt="2022-06-05T16:02:37.780" v="1121" actId="1076"/>
          <ac:spMkLst>
            <pc:docMk/>
            <pc:sldMk cId="4115761890" sldId="2146846968"/>
            <ac:spMk id="68" creationId="{3DADE4C7-1309-429F-A98E-A358DA3D482C}"/>
          </ac:spMkLst>
        </pc:spChg>
        <pc:grpChg chg="add mod">
          <ac:chgData name="Haavard Oestensen" userId="e1d95b87-88f0-4af7-a86d-fc8ee67ecb16" providerId="ADAL" clId="{1C37024E-9836-4EFE-98E3-569479564779}" dt="2022-06-05T16:00:44.337" v="1073" actId="1076"/>
          <ac:grpSpMkLst>
            <pc:docMk/>
            <pc:sldMk cId="4115761890" sldId="2146846968"/>
            <ac:grpSpMk id="61" creationId="{8FE55F94-F76E-45B0-B5FA-00DC436A14A5}"/>
          </ac:grpSpMkLst>
        </pc:grpChg>
        <pc:picChg chg="add mod">
          <ac:chgData name="Haavard Oestensen" userId="e1d95b87-88f0-4af7-a86d-fc8ee67ecb16" providerId="ADAL" clId="{1C37024E-9836-4EFE-98E3-569479564779}" dt="2022-06-05T15:50:20.274" v="568" actId="1076"/>
          <ac:picMkLst>
            <pc:docMk/>
            <pc:sldMk cId="4115761890" sldId="2146846968"/>
            <ac:picMk id="18" creationId="{760CDF65-BF91-4EFF-B3C2-6B8BCB57A311}"/>
          </ac:picMkLst>
        </pc:picChg>
        <pc:picChg chg="add mod">
          <ac:chgData name="Haavard Oestensen" userId="e1d95b87-88f0-4af7-a86d-fc8ee67ecb16" providerId="ADAL" clId="{1C37024E-9836-4EFE-98E3-569479564779}" dt="2022-06-05T15:50:20.274" v="568" actId="1076"/>
          <ac:picMkLst>
            <pc:docMk/>
            <pc:sldMk cId="4115761890" sldId="2146846968"/>
            <ac:picMk id="19" creationId="{3C5A3DCE-E720-4113-A475-0245A6D4C600}"/>
          </ac:picMkLst>
        </pc:picChg>
        <pc:picChg chg="add mod">
          <ac:chgData name="Haavard Oestensen" userId="e1d95b87-88f0-4af7-a86d-fc8ee67ecb16" providerId="ADAL" clId="{1C37024E-9836-4EFE-98E3-569479564779}" dt="2022-06-05T15:50:20.274" v="568" actId="1076"/>
          <ac:picMkLst>
            <pc:docMk/>
            <pc:sldMk cId="4115761890" sldId="2146846968"/>
            <ac:picMk id="20" creationId="{F2D255AC-8429-450D-A8EC-0145A1679B5E}"/>
          </ac:picMkLst>
        </pc:picChg>
        <pc:picChg chg="add mod">
          <ac:chgData name="Haavard Oestensen" userId="e1d95b87-88f0-4af7-a86d-fc8ee67ecb16" providerId="ADAL" clId="{1C37024E-9836-4EFE-98E3-569479564779}" dt="2022-06-05T15:50:20.274" v="568" actId="1076"/>
          <ac:picMkLst>
            <pc:docMk/>
            <pc:sldMk cId="4115761890" sldId="2146846968"/>
            <ac:picMk id="21" creationId="{147EF885-B6D6-48ED-B915-29B2F60419EF}"/>
          </ac:picMkLst>
        </pc:picChg>
        <pc:picChg chg="add mod">
          <ac:chgData name="Haavard Oestensen" userId="e1d95b87-88f0-4af7-a86d-fc8ee67ecb16" providerId="ADAL" clId="{1C37024E-9836-4EFE-98E3-569479564779}" dt="2022-06-05T16:01:47.236" v="1086" actId="554"/>
          <ac:picMkLst>
            <pc:docMk/>
            <pc:sldMk cId="4115761890" sldId="2146846968"/>
            <ac:picMk id="34" creationId="{218B1A56-2B68-47A2-B8DF-6C20C7B3C354}"/>
          </ac:picMkLst>
        </pc:picChg>
        <pc:picChg chg="add mod">
          <ac:chgData name="Haavard Oestensen" userId="e1d95b87-88f0-4af7-a86d-fc8ee67ecb16" providerId="ADAL" clId="{1C37024E-9836-4EFE-98E3-569479564779}" dt="2022-06-05T16:01:47.236" v="1086" actId="554"/>
          <ac:picMkLst>
            <pc:docMk/>
            <pc:sldMk cId="4115761890" sldId="2146846968"/>
            <ac:picMk id="35" creationId="{E94C50BD-830F-420C-B3AD-8EAFA90F8026}"/>
          </ac:picMkLst>
        </pc:picChg>
        <pc:picChg chg="add mod">
          <ac:chgData name="Haavard Oestensen" userId="e1d95b87-88f0-4af7-a86d-fc8ee67ecb16" providerId="ADAL" clId="{1C37024E-9836-4EFE-98E3-569479564779}" dt="2022-06-05T16:01:47.236" v="1086" actId="554"/>
          <ac:picMkLst>
            <pc:docMk/>
            <pc:sldMk cId="4115761890" sldId="2146846968"/>
            <ac:picMk id="36" creationId="{4F7655EB-5389-4EC2-8C42-A799A299B227}"/>
          </ac:picMkLst>
        </pc:picChg>
        <pc:picChg chg="add mod">
          <ac:chgData name="Haavard Oestensen" userId="e1d95b87-88f0-4af7-a86d-fc8ee67ecb16" providerId="ADAL" clId="{1C37024E-9836-4EFE-98E3-569479564779}" dt="2022-06-05T16:01:47.236" v="1086" actId="554"/>
          <ac:picMkLst>
            <pc:docMk/>
            <pc:sldMk cId="4115761890" sldId="2146846968"/>
            <ac:picMk id="37" creationId="{AD4EE229-6732-477C-B12C-A0C36B30509C}"/>
          </ac:picMkLst>
        </pc:picChg>
        <pc:picChg chg="add del mod">
          <ac:chgData name="Haavard Oestensen" userId="e1d95b87-88f0-4af7-a86d-fc8ee67ecb16" providerId="ADAL" clId="{1C37024E-9836-4EFE-98E3-569479564779}" dt="2022-06-05T15:55:09.079" v="824" actId="478"/>
          <ac:picMkLst>
            <pc:docMk/>
            <pc:sldMk cId="4115761890" sldId="2146846968"/>
            <ac:picMk id="38" creationId="{66DA61A5-34E1-445E-AACD-CC6C8FCBF461}"/>
          </ac:picMkLst>
        </pc:picChg>
        <pc:picChg chg="add mod">
          <ac:chgData name="Haavard Oestensen" userId="e1d95b87-88f0-4af7-a86d-fc8ee67ecb16" providerId="ADAL" clId="{1C37024E-9836-4EFE-98E3-569479564779}" dt="2022-06-05T16:01:47.236" v="1086" actId="554"/>
          <ac:picMkLst>
            <pc:docMk/>
            <pc:sldMk cId="4115761890" sldId="2146846968"/>
            <ac:picMk id="39" creationId="{4807ED9C-7263-45B6-9066-7882E0473A45}"/>
          </ac:picMkLst>
        </pc:picChg>
        <pc:picChg chg="add mod">
          <ac:chgData name="Haavard Oestensen" userId="e1d95b87-88f0-4af7-a86d-fc8ee67ecb16" providerId="ADAL" clId="{1C37024E-9836-4EFE-98E3-569479564779}" dt="2022-06-05T16:10:16.317" v="1948" actId="108"/>
          <ac:picMkLst>
            <pc:docMk/>
            <pc:sldMk cId="4115761890" sldId="2146846968"/>
            <ac:picMk id="42" creationId="{E081A526-6D58-45EF-B64C-36489CF7501E}"/>
          </ac:picMkLst>
        </pc:picChg>
        <pc:picChg chg="add mod">
          <ac:chgData name="Haavard Oestensen" userId="e1d95b87-88f0-4af7-a86d-fc8ee67ecb16" providerId="ADAL" clId="{1C37024E-9836-4EFE-98E3-569479564779}" dt="2022-06-05T16:00:25.423" v="1069" actId="1076"/>
          <ac:picMkLst>
            <pc:docMk/>
            <pc:sldMk cId="4115761890" sldId="2146846968"/>
            <ac:picMk id="46" creationId="{0AA426D5-5FE4-420D-90F8-3B62E73649AC}"/>
          </ac:picMkLst>
        </pc:picChg>
        <pc:picChg chg="add mod">
          <ac:chgData name="Haavard Oestensen" userId="e1d95b87-88f0-4af7-a86d-fc8ee67ecb16" providerId="ADAL" clId="{1C37024E-9836-4EFE-98E3-569479564779}" dt="2022-06-05T16:01:11.175" v="1077" actId="1036"/>
          <ac:picMkLst>
            <pc:docMk/>
            <pc:sldMk cId="4115761890" sldId="2146846968"/>
            <ac:picMk id="47" creationId="{1AD7A263-5638-4979-84EC-EC9DD951197C}"/>
          </ac:picMkLst>
        </pc:picChg>
        <pc:picChg chg="add mod">
          <ac:chgData name="Haavard Oestensen" userId="e1d95b87-88f0-4af7-a86d-fc8ee67ecb16" providerId="ADAL" clId="{1C37024E-9836-4EFE-98E3-569479564779}" dt="2022-06-05T16:01:11.175" v="1077" actId="1036"/>
          <ac:picMkLst>
            <pc:docMk/>
            <pc:sldMk cId="4115761890" sldId="2146846968"/>
            <ac:picMk id="48" creationId="{3A808065-6DF1-488D-A2BF-E446541BB938}"/>
          </ac:picMkLst>
        </pc:picChg>
        <pc:picChg chg="add mod">
          <ac:chgData name="Haavard Oestensen" userId="e1d95b87-88f0-4af7-a86d-fc8ee67ecb16" providerId="ADAL" clId="{1C37024E-9836-4EFE-98E3-569479564779}" dt="2022-06-05T16:01:11.175" v="1077" actId="1036"/>
          <ac:picMkLst>
            <pc:docMk/>
            <pc:sldMk cId="4115761890" sldId="2146846968"/>
            <ac:picMk id="49" creationId="{63F614F5-741C-4EE4-B0CD-2BE858914879}"/>
          </ac:picMkLst>
        </pc:picChg>
        <pc:picChg chg="add mod">
          <ac:chgData name="Haavard Oestensen" userId="e1d95b87-88f0-4af7-a86d-fc8ee67ecb16" providerId="ADAL" clId="{1C37024E-9836-4EFE-98E3-569479564779}" dt="2022-06-05T16:01:11.175" v="1077" actId="1036"/>
          <ac:picMkLst>
            <pc:docMk/>
            <pc:sldMk cId="4115761890" sldId="2146846968"/>
            <ac:picMk id="56" creationId="{07392736-8A2E-42C8-B867-2687B6BCB254}"/>
          </ac:picMkLst>
        </pc:picChg>
        <pc:picChg chg="add mod">
          <ac:chgData name="Haavard Oestensen" userId="e1d95b87-88f0-4af7-a86d-fc8ee67ecb16" providerId="ADAL" clId="{1C37024E-9836-4EFE-98E3-569479564779}" dt="2022-06-05T16:10:17.559" v="1949" actId="571"/>
          <ac:picMkLst>
            <pc:docMk/>
            <pc:sldMk cId="4115761890" sldId="2146846968"/>
            <ac:picMk id="71" creationId="{05C468EB-D7B1-4A91-A6D1-BB59394ED786}"/>
          </ac:picMkLst>
        </pc:picChg>
        <pc:picChg chg="add mod">
          <ac:chgData name="Haavard Oestensen" userId="e1d95b87-88f0-4af7-a86d-fc8ee67ecb16" providerId="ADAL" clId="{1C37024E-9836-4EFE-98E3-569479564779}" dt="2022-06-05T16:10:38.710" v="1954" actId="1076"/>
          <ac:picMkLst>
            <pc:docMk/>
            <pc:sldMk cId="4115761890" sldId="2146846968"/>
            <ac:picMk id="74" creationId="{E7749844-E511-4C94-AE4E-87459310F42B}"/>
          </ac:picMkLst>
        </pc:picChg>
        <pc:cxnChg chg="add mod">
          <ac:chgData name="Haavard Oestensen" userId="e1d95b87-88f0-4af7-a86d-fc8ee67ecb16" providerId="ADAL" clId="{1C37024E-9836-4EFE-98E3-569479564779}" dt="2022-06-05T16:01:11.175" v="1077" actId="1036"/>
          <ac:cxnSpMkLst>
            <pc:docMk/>
            <pc:sldMk cId="4115761890" sldId="2146846968"/>
            <ac:cxnSpMk id="43" creationId="{2385E278-2402-480B-911B-B7BB34F79FF4}"/>
          </ac:cxnSpMkLst>
        </pc:cxnChg>
        <pc:cxnChg chg="add mod">
          <ac:chgData name="Haavard Oestensen" userId="e1d95b87-88f0-4af7-a86d-fc8ee67ecb16" providerId="ADAL" clId="{1C37024E-9836-4EFE-98E3-569479564779}" dt="2022-06-05T16:01:11.175" v="1077" actId="1036"/>
          <ac:cxnSpMkLst>
            <pc:docMk/>
            <pc:sldMk cId="4115761890" sldId="2146846968"/>
            <ac:cxnSpMk id="44" creationId="{638D3D36-E007-4AD7-92B5-13A9E5CDF6F0}"/>
          </ac:cxnSpMkLst>
        </pc:cxnChg>
        <pc:cxnChg chg="add mod">
          <ac:chgData name="Haavard Oestensen" userId="e1d95b87-88f0-4af7-a86d-fc8ee67ecb16" providerId="ADAL" clId="{1C37024E-9836-4EFE-98E3-569479564779}" dt="2022-06-05T16:01:11.175" v="1077" actId="1036"/>
          <ac:cxnSpMkLst>
            <pc:docMk/>
            <pc:sldMk cId="4115761890" sldId="2146846968"/>
            <ac:cxnSpMk id="45" creationId="{C73BDA4B-C994-4734-B421-574A27A27E9E}"/>
          </ac:cxnSpMkLst>
        </pc:cxnChg>
        <pc:cxnChg chg="add mod">
          <ac:chgData name="Haavard Oestensen" userId="e1d95b87-88f0-4af7-a86d-fc8ee67ecb16" providerId="ADAL" clId="{1C37024E-9836-4EFE-98E3-569479564779}" dt="2022-06-05T16:01:11.175" v="1077" actId="1036"/>
          <ac:cxnSpMkLst>
            <pc:docMk/>
            <pc:sldMk cId="4115761890" sldId="2146846968"/>
            <ac:cxnSpMk id="58" creationId="{7E8D9EB7-E730-4853-A82D-1241C72A082A}"/>
          </ac:cxnSpMkLst>
        </pc:cxnChg>
        <pc:cxnChg chg="add mod">
          <ac:chgData name="Haavard Oestensen" userId="e1d95b87-88f0-4af7-a86d-fc8ee67ecb16" providerId="ADAL" clId="{1C37024E-9836-4EFE-98E3-569479564779}" dt="2022-06-05T16:02:50.736" v="1125" actId="692"/>
          <ac:cxnSpMkLst>
            <pc:docMk/>
            <pc:sldMk cId="4115761890" sldId="2146846968"/>
            <ac:cxnSpMk id="70" creationId="{2206358A-DFC5-46B9-A118-C3C6237AF54D}"/>
          </ac:cxnSpMkLst>
        </pc:cxnChg>
        <pc:cxnChg chg="add mod">
          <ac:chgData name="Haavard Oestensen" userId="e1d95b87-88f0-4af7-a86d-fc8ee67ecb16" providerId="ADAL" clId="{1C37024E-9836-4EFE-98E3-569479564779}" dt="2022-06-05T16:10:28.455" v="1952" actId="14100"/>
          <ac:cxnSpMkLst>
            <pc:docMk/>
            <pc:sldMk cId="4115761890" sldId="2146846968"/>
            <ac:cxnSpMk id="72" creationId="{5F3096E9-5D79-4BF9-B48E-F5A791425844}"/>
          </ac:cxnSpMkLst>
        </pc:cxnChg>
        <pc:cxnChg chg="add mod">
          <ac:chgData name="Haavard Oestensen" userId="e1d95b87-88f0-4af7-a86d-fc8ee67ecb16" providerId="ADAL" clId="{1C37024E-9836-4EFE-98E3-569479564779}" dt="2022-06-05T16:10:55.668" v="1960" actId="14100"/>
          <ac:cxnSpMkLst>
            <pc:docMk/>
            <pc:sldMk cId="4115761890" sldId="2146846968"/>
            <ac:cxnSpMk id="75" creationId="{C571DFF7-99D1-44DF-BF1B-1BAF003DC102}"/>
          </ac:cxnSpMkLst>
        </pc:cxnChg>
      </pc:sldChg>
      <pc:sldChg chg="addSp modSp add mod">
        <pc:chgData name="Haavard Oestensen" userId="e1d95b87-88f0-4af7-a86d-fc8ee67ecb16" providerId="ADAL" clId="{1C37024E-9836-4EFE-98E3-569479564779}" dt="2022-06-05T16:26:07.792" v="2093" actId="20577"/>
        <pc:sldMkLst>
          <pc:docMk/>
          <pc:sldMk cId="3492897153" sldId="2147327333"/>
        </pc:sldMkLst>
        <pc:spChg chg="mod">
          <ac:chgData name="Haavard Oestensen" userId="e1d95b87-88f0-4af7-a86d-fc8ee67ecb16" providerId="ADAL" clId="{1C37024E-9836-4EFE-98E3-569479564779}" dt="2022-06-05T16:26:07.792" v="2093" actId="20577"/>
          <ac:spMkLst>
            <pc:docMk/>
            <pc:sldMk cId="3492897153" sldId="2147327333"/>
            <ac:spMk id="2" creationId="{D03EA950-F0DA-4B39-996E-68476C6E92B7}"/>
          </ac:spMkLst>
        </pc:spChg>
        <pc:spChg chg="mod">
          <ac:chgData name="Haavard Oestensen" userId="e1d95b87-88f0-4af7-a86d-fc8ee67ecb16" providerId="ADAL" clId="{1C37024E-9836-4EFE-98E3-569479564779}" dt="2022-06-05T16:15:46.100" v="1998" actId="164"/>
          <ac:spMkLst>
            <pc:docMk/>
            <pc:sldMk cId="3492897153" sldId="2147327333"/>
            <ac:spMk id="11" creationId="{FFE3793C-2E46-4918-A1B7-FCDC625DEA91}"/>
          </ac:spMkLst>
        </pc:spChg>
        <pc:spChg chg="mod">
          <ac:chgData name="Haavard Oestensen" userId="e1d95b87-88f0-4af7-a86d-fc8ee67ecb16" providerId="ADAL" clId="{1C37024E-9836-4EFE-98E3-569479564779}" dt="2022-06-05T16:15:46.100" v="1998" actId="164"/>
          <ac:spMkLst>
            <pc:docMk/>
            <pc:sldMk cId="3492897153" sldId="2147327333"/>
            <ac:spMk id="12" creationId="{ECE20415-67A3-41AC-A115-BDDB67FA95EA}"/>
          </ac:spMkLst>
        </pc:spChg>
        <pc:spChg chg="mod">
          <ac:chgData name="Haavard Oestensen" userId="e1d95b87-88f0-4af7-a86d-fc8ee67ecb16" providerId="ADAL" clId="{1C37024E-9836-4EFE-98E3-569479564779}" dt="2022-06-05T16:15:46.100" v="1998" actId="164"/>
          <ac:spMkLst>
            <pc:docMk/>
            <pc:sldMk cId="3492897153" sldId="2147327333"/>
            <ac:spMk id="14" creationId="{4F31CA97-FD03-4DF8-92E2-EE8D32A4B366}"/>
          </ac:spMkLst>
        </pc:spChg>
        <pc:spChg chg="mod">
          <ac:chgData name="Haavard Oestensen" userId="e1d95b87-88f0-4af7-a86d-fc8ee67ecb16" providerId="ADAL" clId="{1C37024E-9836-4EFE-98E3-569479564779}" dt="2022-06-05T16:15:46.100" v="1998" actId="164"/>
          <ac:spMkLst>
            <pc:docMk/>
            <pc:sldMk cId="3492897153" sldId="2147327333"/>
            <ac:spMk id="18" creationId="{B262B2B0-9E81-4DA5-981C-FA3F7BB7950D}"/>
          </ac:spMkLst>
        </pc:spChg>
        <pc:spChg chg="mod">
          <ac:chgData name="Haavard Oestensen" userId="e1d95b87-88f0-4af7-a86d-fc8ee67ecb16" providerId="ADAL" clId="{1C37024E-9836-4EFE-98E3-569479564779}" dt="2022-06-05T16:15:46.100" v="1998" actId="164"/>
          <ac:spMkLst>
            <pc:docMk/>
            <pc:sldMk cId="3492897153" sldId="2147327333"/>
            <ac:spMk id="19" creationId="{9D1278EF-1C46-4C2C-B366-EE1DDB14487C}"/>
          </ac:spMkLst>
        </pc:spChg>
        <pc:grpChg chg="add mod">
          <ac:chgData name="Haavard Oestensen" userId="e1d95b87-88f0-4af7-a86d-fc8ee67ecb16" providerId="ADAL" clId="{1C37024E-9836-4EFE-98E3-569479564779}" dt="2022-06-05T16:15:46.100" v="1998" actId="164"/>
          <ac:grpSpMkLst>
            <pc:docMk/>
            <pc:sldMk cId="3492897153" sldId="2147327333"/>
            <ac:grpSpMk id="3" creationId="{86794C6D-3950-42EE-9560-11E74F67D932}"/>
          </ac:grpSpMkLst>
        </pc:grpChg>
        <pc:picChg chg="mod">
          <ac:chgData name="Haavard Oestensen" userId="e1d95b87-88f0-4af7-a86d-fc8ee67ecb16" providerId="ADAL" clId="{1C37024E-9836-4EFE-98E3-569479564779}" dt="2022-06-05T16:15:46.100" v="1998" actId="164"/>
          <ac:picMkLst>
            <pc:docMk/>
            <pc:sldMk cId="3492897153" sldId="2147327333"/>
            <ac:picMk id="9" creationId="{DBE103BD-D10C-401B-9445-642E6D563D19}"/>
          </ac:picMkLst>
        </pc:picChg>
        <pc:picChg chg="mod">
          <ac:chgData name="Haavard Oestensen" userId="e1d95b87-88f0-4af7-a86d-fc8ee67ecb16" providerId="ADAL" clId="{1C37024E-9836-4EFE-98E3-569479564779}" dt="2022-06-05T16:15:46.100" v="1998" actId="164"/>
          <ac:picMkLst>
            <pc:docMk/>
            <pc:sldMk cId="3492897153" sldId="2147327333"/>
            <ac:picMk id="10" creationId="{ECE598C7-9E6F-4AE8-97E8-A0C0D414A992}"/>
          </ac:picMkLst>
        </pc:picChg>
        <pc:picChg chg="mod">
          <ac:chgData name="Haavard Oestensen" userId="e1d95b87-88f0-4af7-a86d-fc8ee67ecb16" providerId="ADAL" clId="{1C37024E-9836-4EFE-98E3-569479564779}" dt="2022-06-05T16:15:46.100" v="1998" actId="164"/>
          <ac:picMkLst>
            <pc:docMk/>
            <pc:sldMk cId="3492897153" sldId="2147327333"/>
            <ac:picMk id="13" creationId="{939892BE-9A79-479D-BA36-3A1464D01435}"/>
          </ac:picMkLst>
        </pc:picChg>
        <pc:picChg chg="mod">
          <ac:chgData name="Haavard Oestensen" userId="e1d95b87-88f0-4af7-a86d-fc8ee67ecb16" providerId="ADAL" clId="{1C37024E-9836-4EFE-98E3-569479564779}" dt="2022-06-05T16:15:46.100" v="1998" actId="164"/>
          <ac:picMkLst>
            <pc:docMk/>
            <pc:sldMk cId="3492897153" sldId="2147327333"/>
            <ac:picMk id="16" creationId="{E096CED8-EA00-4541-9906-70756AE8C6F1}"/>
          </ac:picMkLst>
        </pc:picChg>
        <pc:cxnChg chg="mod">
          <ac:chgData name="Haavard Oestensen" userId="e1d95b87-88f0-4af7-a86d-fc8ee67ecb16" providerId="ADAL" clId="{1C37024E-9836-4EFE-98E3-569479564779}" dt="2022-06-05T16:15:46.100" v="1998" actId="164"/>
          <ac:cxnSpMkLst>
            <pc:docMk/>
            <pc:sldMk cId="3492897153" sldId="2147327333"/>
            <ac:cxnSpMk id="21" creationId="{28519183-898A-485A-B647-49F0EE381D78}"/>
          </ac:cxnSpMkLst>
        </pc:cxnChg>
      </pc:sldChg>
      <pc:sldChg chg="addSp delSp modSp add mod modTransition">
        <pc:chgData name="Haavard Oestensen" userId="e1d95b87-88f0-4af7-a86d-fc8ee67ecb16" providerId="ADAL" clId="{1C37024E-9836-4EFE-98E3-569479564779}" dt="2022-06-05T16:17:22.784" v="2027"/>
        <pc:sldMkLst>
          <pc:docMk/>
          <pc:sldMk cId="1544245084" sldId="2147327334"/>
        </pc:sldMkLst>
        <pc:spChg chg="del">
          <ac:chgData name="Haavard Oestensen" userId="e1d95b87-88f0-4af7-a86d-fc8ee67ecb16" providerId="ADAL" clId="{1C37024E-9836-4EFE-98E3-569479564779}" dt="2022-06-05T16:14:50.418" v="1987" actId="478"/>
          <ac:spMkLst>
            <pc:docMk/>
            <pc:sldMk cId="1544245084" sldId="2147327334"/>
            <ac:spMk id="2" creationId="{D03EA950-F0DA-4B39-996E-68476C6E92B7}"/>
          </ac:spMkLst>
        </pc:spChg>
        <pc:spChg chg="add del mod">
          <ac:chgData name="Haavard Oestensen" userId="e1d95b87-88f0-4af7-a86d-fc8ee67ecb16" providerId="ADAL" clId="{1C37024E-9836-4EFE-98E3-569479564779}" dt="2022-06-05T16:14:53.953" v="1988" actId="478"/>
          <ac:spMkLst>
            <pc:docMk/>
            <pc:sldMk cId="1544245084" sldId="2147327334"/>
            <ac:spMk id="4" creationId="{B64F3A9C-986F-4005-8B2F-6665CE81512E}"/>
          </ac:spMkLst>
        </pc:spChg>
        <pc:spChg chg="mod ord">
          <ac:chgData name="Haavard Oestensen" userId="e1d95b87-88f0-4af7-a86d-fc8ee67ecb16" providerId="ADAL" clId="{1C37024E-9836-4EFE-98E3-569479564779}" dt="2022-06-05T16:15:24.540" v="1993" actId="166"/>
          <ac:spMkLst>
            <pc:docMk/>
            <pc:sldMk cId="1544245084" sldId="2147327334"/>
            <ac:spMk id="11" creationId="{FFE3793C-2E46-4918-A1B7-FCDC625DEA91}"/>
          </ac:spMkLst>
        </pc:spChg>
        <pc:spChg chg="del">
          <ac:chgData name="Haavard Oestensen" userId="e1d95b87-88f0-4af7-a86d-fc8ee67ecb16" providerId="ADAL" clId="{1C37024E-9836-4EFE-98E3-569479564779}" dt="2022-06-05T16:15:51.160" v="1999" actId="478"/>
          <ac:spMkLst>
            <pc:docMk/>
            <pc:sldMk cId="1544245084" sldId="2147327334"/>
            <ac:spMk id="12" creationId="{ECE20415-67A3-41AC-A115-BDDB67FA95EA}"/>
          </ac:spMkLst>
        </pc:spChg>
        <pc:spChg chg="del">
          <ac:chgData name="Haavard Oestensen" userId="e1d95b87-88f0-4af7-a86d-fc8ee67ecb16" providerId="ADAL" clId="{1C37024E-9836-4EFE-98E3-569479564779}" dt="2022-06-05T16:15:51.160" v="1999" actId="478"/>
          <ac:spMkLst>
            <pc:docMk/>
            <pc:sldMk cId="1544245084" sldId="2147327334"/>
            <ac:spMk id="14" creationId="{4F31CA97-FD03-4DF8-92E2-EE8D32A4B366}"/>
          </ac:spMkLst>
        </pc:spChg>
        <pc:spChg chg="mod ord">
          <ac:chgData name="Haavard Oestensen" userId="e1d95b87-88f0-4af7-a86d-fc8ee67ecb16" providerId="ADAL" clId="{1C37024E-9836-4EFE-98E3-569479564779}" dt="2022-06-05T16:15:33.433" v="1995" actId="166"/>
          <ac:spMkLst>
            <pc:docMk/>
            <pc:sldMk cId="1544245084" sldId="2147327334"/>
            <ac:spMk id="18" creationId="{B262B2B0-9E81-4DA5-981C-FA3F7BB7950D}"/>
          </ac:spMkLst>
        </pc:spChg>
        <pc:spChg chg="mod">
          <ac:chgData name="Haavard Oestensen" userId="e1d95b87-88f0-4af7-a86d-fc8ee67ecb16" providerId="ADAL" clId="{1C37024E-9836-4EFE-98E3-569479564779}" dt="2022-06-05T16:15:11.909" v="1989" actId="164"/>
          <ac:spMkLst>
            <pc:docMk/>
            <pc:sldMk cId="1544245084" sldId="2147327334"/>
            <ac:spMk id="19" creationId="{9D1278EF-1C46-4C2C-B366-EE1DDB14487C}"/>
          </ac:spMkLst>
        </pc:spChg>
        <pc:spChg chg="mod">
          <ac:chgData name="Haavard Oestensen" userId="e1d95b87-88f0-4af7-a86d-fc8ee67ecb16" providerId="ADAL" clId="{1C37024E-9836-4EFE-98E3-569479564779}" dt="2022-06-05T16:15:52.038" v="2000"/>
          <ac:spMkLst>
            <pc:docMk/>
            <pc:sldMk cId="1544245084" sldId="2147327334"/>
            <ac:spMk id="23" creationId="{494ACF5A-3DB5-412C-825C-E31419711AF1}"/>
          </ac:spMkLst>
        </pc:spChg>
        <pc:spChg chg="mod">
          <ac:chgData name="Haavard Oestensen" userId="e1d95b87-88f0-4af7-a86d-fc8ee67ecb16" providerId="ADAL" clId="{1C37024E-9836-4EFE-98E3-569479564779}" dt="2022-06-05T16:15:52.038" v="2000"/>
          <ac:spMkLst>
            <pc:docMk/>
            <pc:sldMk cId="1544245084" sldId="2147327334"/>
            <ac:spMk id="25" creationId="{1CF619AB-819F-4D30-94B5-ECEBA7CA6F49}"/>
          </ac:spMkLst>
        </pc:spChg>
        <pc:spChg chg="mod">
          <ac:chgData name="Haavard Oestensen" userId="e1d95b87-88f0-4af7-a86d-fc8ee67ecb16" providerId="ADAL" clId="{1C37024E-9836-4EFE-98E3-569479564779}" dt="2022-06-05T16:15:52.038" v="2000"/>
          <ac:spMkLst>
            <pc:docMk/>
            <pc:sldMk cId="1544245084" sldId="2147327334"/>
            <ac:spMk id="27" creationId="{10630D0A-38CA-4B54-AAD9-029CD22F4E92}"/>
          </ac:spMkLst>
        </pc:spChg>
        <pc:spChg chg="mod">
          <ac:chgData name="Haavard Oestensen" userId="e1d95b87-88f0-4af7-a86d-fc8ee67ecb16" providerId="ADAL" clId="{1C37024E-9836-4EFE-98E3-569479564779}" dt="2022-06-05T16:15:52.038" v="2000"/>
          <ac:spMkLst>
            <pc:docMk/>
            <pc:sldMk cId="1544245084" sldId="2147327334"/>
            <ac:spMk id="29" creationId="{8C0AB53F-61D4-4C04-BD25-6CF5D581F010}"/>
          </ac:spMkLst>
        </pc:spChg>
        <pc:spChg chg="mod">
          <ac:chgData name="Haavard Oestensen" userId="e1d95b87-88f0-4af7-a86d-fc8ee67ecb16" providerId="ADAL" clId="{1C37024E-9836-4EFE-98E3-569479564779}" dt="2022-06-05T16:15:52.038" v="2000"/>
          <ac:spMkLst>
            <pc:docMk/>
            <pc:sldMk cId="1544245084" sldId="2147327334"/>
            <ac:spMk id="30" creationId="{FED0333C-7F12-4F33-9107-3804A2DBD602}"/>
          </ac:spMkLst>
        </pc:spChg>
        <pc:grpChg chg="add mod">
          <ac:chgData name="Haavard Oestensen" userId="e1d95b87-88f0-4af7-a86d-fc8ee67ecb16" providerId="ADAL" clId="{1C37024E-9836-4EFE-98E3-569479564779}" dt="2022-06-05T16:15:18.934" v="1990" actId="164"/>
          <ac:grpSpMkLst>
            <pc:docMk/>
            <pc:sldMk cId="1544245084" sldId="2147327334"/>
            <ac:grpSpMk id="6" creationId="{4236AC66-9F99-4BC2-9FDA-EBE84B14DA6B}"/>
          </ac:grpSpMkLst>
        </pc:grpChg>
        <pc:grpChg chg="add del mod">
          <ac:chgData name="Haavard Oestensen" userId="e1d95b87-88f0-4af7-a86d-fc8ee67ecb16" providerId="ADAL" clId="{1C37024E-9836-4EFE-98E3-569479564779}" dt="2022-06-05T16:15:51.160" v="1999" actId="478"/>
          <ac:grpSpMkLst>
            <pc:docMk/>
            <pc:sldMk cId="1544245084" sldId="2147327334"/>
            <ac:grpSpMk id="7" creationId="{B1418A51-76C7-449B-91F9-36976CB76D92}"/>
          </ac:grpSpMkLst>
        </pc:grpChg>
        <pc:grpChg chg="add mod">
          <ac:chgData name="Haavard Oestensen" userId="e1d95b87-88f0-4af7-a86d-fc8ee67ecb16" providerId="ADAL" clId="{1C37024E-9836-4EFE-98E3-569479564779}" dt="2022-06-05T16:16:37.968" v="2016" actId="1076"/>
          <ac:grpSpMkLst>
            <pc:docMk/>
            <pc:sldMk cId="1544245084" sldId="2147327334"/>
            <ac:grpSpMk id="20" creationId="{D9A9B7CF-49BF-4CAB-9E4D-DE9531FA9FB3}"/>
          </ac:grpSpMkLst>
        </pc:grpChg>
        <pc:picChg chg="mod">
          <ac:chgData name="Haavard Oestensen" userId="e1d95b87-88f0-4af7-a86d-fc8ee67ecb16" providerId="ADAL" clId="{1C37024E-9836-4EFE-98E3-569479564779}" dt="2022-06-05T16:15:11.909" v="1989" actId="164"/>
          <ac:picMkLst>
            <pc:docMk/>
            <pc:sldMk cId="1544245084" sldId="2147327334"/>
            <ac:picMk id="9" creationId="{DBE103BD-D10C-401B-9445-642E6D563D19}"/>
          </ac:picMkLst>
        </pc:picChg>
        <pc:picChg chg="mod ord">
          <ac:chgData name="Haavard Oestensen" userId="e1d95b87-88f0-4af7-a86d-fc8ee67ecb16" providerId="ADAL" clId="{1C37024E-9836-4EFE-98E3-569479564779}" dt="2022-06-05T16:15:29.473" v="1994" actId="166"/>
          <ac:picMkLst>
            <pc:docMk/>
            <pc:sldMk cId="1544245084" sldId="2147327334"/>
            <ac:picMk id="10" creationId="{ECE598C7-9E6F-4AE8-97E8-A0C0D414A992}"/>
          </ac:picMkLst>
        </pc:picChg>
        <pc:picChg chg="del">
          <ac:chgData name="Haavard Oestensen" userId="e1d95b87-88f0-4af7-a86d-fc8ee67ecb16" providerId="ADAL" clId="{1C37024E-9836-4EFE-98E3-569479564779}" dt="2022-06-05T16:15:51.160" v="1999" actId="478"/>
          <ac:picMkLst>
            <pc:docMk/>
            <pc:sldMk cId="1544245084" sldId="2147327334"/>
            <ac:picMk id="13" creationId="{939892BE-9A79-479D-BA36-3A1464D01435}"/>
          </ac:picMkLst>
        </pc:picChg>
        <pc:picChg chg="mod">
          <ac:chgData name="Haavard Oestensen" userId="e1d95b87-88f0-4af7-a86d-fc8ee67ecb16" providerId="ADAL" clId="{1C37024E-9836-4EFE-98E3-569479564779}" dt="2022-06-05T16:15:11.909" v="1989" actId="164"/>
          <ac:picMkLst>
            <pc:docMk/>
            <pc:sldMk cId="1544245084" sldId="2147327334"/>
            <ac:picMk id="16" creationId="{E096CED8-EA00-4541-9906-70756AE8C6F1}"/>
          </ac:picMkLst>
        </pc:picChg>
        <pc:picChg chg="mod">
          <ac:chgData name="Haavard Oestensen" userId="e1d95b87-88f0-4af7-a86d-fc8ee67ecb16" providerId="ADAL" clId="{1C37024E-9836-4EFE-98E3-569479564779}" dt="2022-06-05T16:15:52.038" v="2000"/>
          <ac:picMkLst>
            <pc:docMk/>
            <pc:sldMk cId="1544245084" sldId="2147327334"/>
            <ac:picMk id="22" creationId="{516E373D-B174-4986-89A2-6F41E4275CF9}"/>
          </ac:picMkLst>
        </pc:picChg>
        <pc:picChg chg="mod">
          <ac:chgData name="Haavard Oestensen" userId="e1d95b87-88f0-4af7-a86d-fc8ee67ecb16" providerId="ADAL" clId="{1C37024E-9836-4EFE-98E3-569479564779}" dt="2022-06-05T16:15:52.038" v="2000"/>
          <ac:picMkLst>
            <pc:docMk/>
            <pc:sldMk cId="1544245084" sldId="2147327334"/>
            <ac:picMk id="24" creationId="{F9719CAE-11AB-481C-8DEF-01ED333D3E8E}"/>
          </ac:picMkLst>
        </pc:picChg>
        <pc:picChg chg="mod">
          <ac:chgData name="Haavard Oestensen" userId="e1d95b87-88f0-4af7-a86d-fc8ee67ecb16" providerId="ADAL" clId="{1C37024E-9836-4EFE-98E3-569479564779}" dt="2022-06-05T16:15:52.038" v="2000"/>
          <ac:picMkLst>
            <pc:docMk/>
            <pc:sldMk cId="1544245084" sldId="2147327334"/>
            <ac:picMk id="26" creationId="{999E7982-8E18-4956-9232-B912671655FE}"/>
          </ac:picMkLst>
        </pc:picChg>
        <pc:picChg chg="mod">
          <ac:chgData name="Haavard Oestensen" userId="e1d95b87-88f0-4af7-a86d-fc8ee67ecb16" providerId="ADAL" clId="{1C37024E-9836-4EFE-98E3-569479564779}" dt="2022-06-05T16:15:52.038" v="2000"/>
          <ac:picMkLst>
            <pc:docMk/>
            <pc:sldMk cId="1544245084" sldId="2147327334"/>
            <ac:picMk id="28" creationId="{5E360B03-0751-4450-9F22-F2C42D759E26}"/>
          </ac:picMkLst>
        </pc:picChg>
        <pc:cxnChg chg="del mod">
          <ac:chgData name="Haavard Oestensen" userId="e1d95b87-88f0-4af7-a86d-fc8ee67ecb16" providerId="ADAL" clId="{1C37024E-9836-4EFE-98E3-569479564779}" dt="2022-06-05T16:15:51.160" v="1999" actId="478"/>
          <ac:cxnSpMkLst>
            <pc:docMk/>
            <pc:sldMk cId="1544245084" sldId="2147327334"/>
            <ac:cxnSpMk id="21" creationId="{28519183-898A-485A-B647-49F0EE381D78}"/>
          </ac:cxnSpMkLst>
        </pc:cxnChg>
        <pc:cxnChg chg="mod">
          <ac:chgData name="Haavard Oestensen" userId="e1d95b87-88f0-4af7-a86d-fc8ee67ecb16" providerId="ADAL" clId="{1C37024E-9836-4EFE-98E3-569479564779}" dt="2022-06-05T16:15:52.038" v="2000"/>
          <ac:cxnSpMkLst>
            <pc:docMk/>
            <pc:sldMk cId="1544245084" sldId="2147327334"/>
            <ac:cxnSpMk id="31" creationId="{920392C4-E658-4374-BA76-409E4EDC1CD8}"/>
          </ac:cxnSpMkLst>
        </pc:cxnChg>
      </pc:sldChg>
      <pc:sldChg chg="addSp delSp modSp add mod modTransition">
        <pc:chgData name="Haavard Oestensen" userId="e1d95b87-88f0-4af7-a86d-fc8ee67ecb16" providerId="ADAL" clId="{1C37024E-9836-4EFE-98E3-569479564779}" dt="2022-06-05T16:17:24.826" v="2028"/>
        <pc:sldMkLst>
          <pc:docMk/>
          <pc:sldMk cId="164635636" sldId="2147327335"/>
        </pc:sldMkLst>
        <pc:spChg chg="mod">
          <ac:chgData name="Haavard Oestensen" userId="e1d95b87-88f0-4af7-a86d-fc8ee67ecb16" providerId="ADAL" clId="{1C37024E-9836-4EFE-98E3-569479564779}" dt="2022-06-05T16:16:41.622" v="2018"/>
          <ac:spMkLst>
            <pc:docMk/>
            <pc:sldMk cId="164635636" sldId="2147327335"/>
            <ac:spMk id="16" creationId="{366764C7-C3B5-4433-8D08-4AA86F091D6F}"/>
          </ac:spMkLst>
        </pc:spChg>
        <pc:spChg chg="mod">
          <ac:chgData name="Haavard Oestensen" userId="e1d95b87-88f0-4af7-a86d-fc8ee67ecb16" providerId="ADAL" clId="{1C37024E-9836-4EFE-98E3-569479564779}" dt="2022-06-05T16:16:41.622" v="2018"/>
          <ac:spMkLst>
            <pc:docMk/>
            <pc:sldMk cId="164635636" sldId="2147327335"/>
            <ac:spMk id="18" creationId="{B2DD6951-13AA-40C3-AA5D-5839F74BBE45}"/>
          </ac:spMkLst>
        </pc:spChg>
        <pc:spChg chg="mod">
          <ac:chgData name="Haavard Oestensen" userId="e1d95b87-88f0-4af7-a86d-fc8ee67ecb16" providerId="ADAL" clId="{1C37024E-9836-4EFE-98E3-569479564779}" dt="2022-06-05T16:16:41.622" v="2018"/>
          <ac:spMkLst>
            <pc:docMk/>
            <pc:sldMk cId="164635636" sldId="2147327335"/>
            <ac:spMk id="21" creationId="{6E4F5F6E-B7FD-4E53-B163-03A1526462DB}"/>
          </ac:spMkLst>
        </pc:spChg>
        <pc:spChg chg="mod">
          <ac:chgData name="Haavard Oestensen" userId="e1d95b87-88f0-4af7-a86d-fc8ee67ecb16" providerId="ADAL" clId="{1C37024E-9836-4EFE-98E3-569479564779}" dt="2022-06-05T16:16:41.622" v="2018"/>
          <ac:spMkLst>
            <pc:docMk/>
            <pc:sldMk cId="164635636" sldId="2147327335"/>
            <ac:spMk id="33" creationId="{AB2E44AE-D370-4AEC-B749-99CAF281B125}"/>
          </ac:spMkLst>
        </pc:spChg>
        <pc:spChg chg="mod">
          <ac:chgData name="Haavard Oestensen" userId="e1d95b87-88f0-4af7-a86d-fc8ee67ecb16" providerId="ADAL" clId="{1C37024E-9836-4EFE-98E3-569479564779}" dt="2022-06-05T16:16:41.622" v="2018"/>
          <ac:spMkLst>
            <pc:docMk/>
            <pc:sldMk cId="164635636" sldId="2147327335"/>
            <ac:spMk id="34" creationId="{6DB5B2F4-4A88-4EDA-80D0-5AAAA8D85E01}"/>
          </ac:spMkLst>
        </pc:spChg>
        <pc:grpChg chg="add mod">
          <ac:chgData name="Haavard Oestensen" userId="e1d95b87-88f0-4af7-a86d-fc8ee67ecb16" providerId="ADAL" clId="{1C37024E-9836-4EFE-98E3-569479564779}" dt="2022-06-05T16:16:48.608" v="2021" actId="1076"/>
          <ac:grpSpMkLst>
            <pc:docMk/>
            <pc:sldMk cId="164635636" sldId="2147327335"/>
            <ac:grpSpMk id="14" creationId="{8FA4DB79-741B-4207-9DD3-119B2C8EF080}"/>
          </ac:grpSpMkLst>
        </pc:grpChg>
        <pc:grpChg chg="del mod">
          <ac:chgData name="Haavard Oestensen" userId="e1d95b87-88f0-4af7-a86d-fc8ee67ecb16" providerId="ADAL" clId="{1C37024E-9836-4EFE-98E3-569479564779}" dt="2022-06-05T16:16:41.075" v="2017" actId="478"/>
          <ac:grpSpMkLst>
            <pc:docMk/>
            <pc:sldMk cId="164635636" sldId="2147327335"/>
            <ac:grpSpMk id="20" creationId="{D9A9B7CF-49BF-4CAB-9E4D-DE9531FA9FB3}"/>
          </ac:grpSpMkLst>
        </pc:grpChg>
        <pc:picChg chg="mod">
          <ac:chgData name="Haavard Oestensen" userId="e1d95b87-88f0-4af7-a86d-fc8ee67ecb16" providerId="ADAL" clId="{1C37024E-9836-4EFE-98E3-569479564779}" dt="2022-06-05T16:16:41.622" v="2018"/>
          <ac:picMkLst>
            <pc:docMk/>
            <pc:sldMk cId="164635636" sldId="2147327335"/>
            <ac:picMk id="15" creationId="{EAAA9766-E189-4611-95E8-EA48FFB0244A}"/>
          </ac:picMkLst>
        </pc:picChg>
        <pc:picChg chg="mod">
          <ac:chgData name="Haavard Oestensen" userId="e1d95b87-88f0-4af7-a86d-fc8ee67ecb16" providerId="ADAL" clId="{1C37024E-9836-4EFE-98E3-569479564779}" dt="2022-06-05T16:16:41.622" v="2018"/>
          <ac:picMkLst>
            <pc:docMk/>
            <pc:sldMk cId="164635636" sldId="2147327335"/>
            <ac:picMk id="17" creationId="{45A26811-0755-4614-94DE-E2B5641BF0F8}"/>
          </ac:picMkLst>
        </pc:picChg>
        <pc:picChg chg="mod">
          <ac:chgData name="Haavard Oestensen" userId="e1d95b87-88f0-4af7-a86d-fc8ee67ecb16" providerId="ADAL" clId="{1C37024E-9836-4EFE-98E3-569479564779}" dt="2022-06-05T16:16:41.622" v="2018"/>
          <ac:picMkLst>
            <pc:docMk/>
            <pc:sldMk cId="164635636" sldId="2147327335"/>
            <ac:picMk id="19" creationId="{B6191D27-DE03-463A-B19C-D8A48B7BBA65}"/>
          </ac:picMkLst>
        </pc:picChg>
        <pc:picChg chg="mod">
          <ac:chgData name="Haavard Oestensen" userId="e1d95b87-88f0-4af7-a86d-fc8ee67ecb16" providerId="ADAL" clId="{1C37024E-9836-4EFE-98E3-569479564779}" dt="2022-06-05T16:16:41.622" v="2018"/>
          <ac:picMkLst>
            <pc:docMk/>
            <pc:sldMk cId="164635636" sldId="2147327335"/>
            <ac:picMk id="32" creationId="{D47C4762-23A7-40E9-B901-C23458D7A72E}"/>
          </ac:picMkLst>
        </pc:picChg>
        <pc:cxnChg chg="mod">
          <ac:chgData name="Haavard Oestensen" userId="e1d95b87-88f0-4af7-a86d-fc8ee67ecb16" providerId="ADAL" clId="{1C37024E-9836-4EFE-98E3-569479564779}" dt="2022-06-05T16:16:41.075" v="2017" actId="478"/>
          <ac:cxnSpMkLst>
            <pc:docMk/>
            <pc:sldMk cId="164635636" sldId="2147327335"/>
            <ac:cxnSpMk id="31" creationId="{920392C4-E658-4374-BA76-409E4EDC1CD8}"/>
          </ac:cxnSpMkLst>
        </pc:cxnChg>
        <pc:cxnChg chg="mod">
          <ac:chgData name="Haavard Oestensen" userId="e1d95b87-88f0-4af7-a86d-fc8ee67ecb16" providerId="ADAL" clId="{1C37024E-9836-4EFE-98E3-569479564779}" dt="2022-06-05T16:16:41.622" v="2018"/>
          <ac:cxnSpMkLst>
            <pc:docMk/>
            <pc:sldMk cId="164635636" sldId="2147327335"/>
            <ac:cxnSpMk id="35" creationId="{A2919C2E-BF85-4D53-AD3B-A6A207988AC2}"/>
          </ac:cxnSpMkLst>
        </pc:cxnChg>
      </pc:sldChg>
      <pc:sldChg chg="modSp add mod modTransition">
        <pc:chgData name="Haavard Oestensen" userId="e1d95b87-88f0-4af7-a86d-fc8ee67ecb16" providerId="ADAL" clId="{1C37024E-9836-4EFE-98E3-569479564779}" dt="2022-06-05T16:17:28.175" v="2029"/>
        <pc:sldMkLst>
          <pc:docMk/>
          <pc:sldMk cId="3680840011" sldId="2147327336"/>
        </pc:sldMkLst>
        <pc:grpChg chg="mod">
          <ac:chgData name="Haavard Oestensen" userId="e1d95b87-88f0-4af7-a86d-fc8ee67ecb16" providerId="ADAL" clId="{1C37024E-9836-4EFE-98E3-569479564779}" dt="2022-06-05T16:17:02.141" v="2023" actId="1076"/>
          <ac:grpSpMkLst>
            <pc:docMk/>
            <pc:sldMk cId="3680840011" sldId="2147327336"/>
            <ac:grpSpMk id="14" creationId="{8FA4DB79-741B-4207-9DD3-119B2C8EF080}"/>
          </ac:grpSpMkLst>
        </pc:grpChg>
      </pc:sldChg>
      <pc:sldChg chg="addSp delSp modSp add mod modTransition">
        <pc:chgData name="Haavard Oestensen" userId="e1d95b87-88f0-4af7-a86d-fc8ee67ecb16" providerId="ADAL" clId="{1C37024E-9836-4EFE-98E3-569479564779}" dt="2022-06-06T05:17:26.674" v="2458" actId="478"/>
        <pc:sldMkLst>
          <pc:docMk/>
          <pc:sldMk cId="3808224508" sldId="2147327337"/>
        </pc:sldMkLst>
        <pc:spChg chg="del mod topLvl">
          <ac:chgData name="Haavard Oestensen" userId="e1d95b87-88f0-4af7-a86d-fc8ee67ecb16" providerId="ADAL" clId="{1C37024E-9836-4EFE-98E3-569479564779}" dt="2022-06-06T05:17:26.674" v="2458" actId="478"/>
          <ac:spMkLst>
            <pc:docMk/>
            <pc:sldMk cId="3808224508" sldId="2147327337"/>
            <ac:spMk id="23" creationId="{BEFB7AD1-F96D-42BC-B57C-B9B00B68CA50}"/>
          </ac:spMkLst>
        </pc:spChg>
        <pc:grpChg chg="mod">
          <ac:chgData name="Haavard Oestensen" userId="e1d95b87-88f0-4af7-a86d-fc8ee67ecb16" providerId="ADAL" clId="{1C37024E-9836-4EFE-98E3-569479564779}" dt="2022-06-05T16:17:14.086" v="2025" actId="1076"/>
          <ac:grpSpMkLst>
            <pc:docMk/>
            <pc:sldMk cId="3808224508" sldId="2147327337"/>
            <ac:grpSpMk id="14" creationId="{8FA4DB79-741B-4207-9DD3-119B2C8EF080}"/>
          </ac:grpSpMkLst>
        </pc:grpChg>
        <pc:grpChg chg="add del mod">
          <ac:chgData name="Haavard Oestensen" userId="e1d95b87-88f0-4af7-a86d-fc8ee67ecb16" providerId="ADAL" clId="{1C37024E-9836-4EFE-98E3-569479564779}" dt="2022-06-05T16:28:26.553" v="2100" actId="478"/>
          <ac:grpSpMkLst>
            <pc:docMk/>
            <pc:sldMk cId="3808224508" sldId="2147327337"/>
            <ac:grpSpMk id="20" creationId="{4865EA8A-B5BB-4769-9940-1096F2CFC2F2}"/>
          </ac:grpSpMkLst>
        </pc:grpChg>
        <pc:picChg chg="del mod topLvl">
          <ac:chgData name="Haavard Oestensen" userId="e1d95b87-88f0-4af7-a86d-fc8ee67ecb16" providerId="ADAL" clId="{1C37024E-9836-4EFE-98E3-569479564779}" dt="2022-06-05T16:28:26.553" v="2100" actId="478"/>
          <ac:picMkLst>
            <pc:docMk/>
            <pc:sldMk cId="3808224508" sldId="2147327337"/>
            <ac:picMk id="22" creationId="{CE9AED77-76B0-4236-BD7C-32428D988480}"/>
          </ac:picMkLst>
        </pc:picChg>
      </pc:sldChg>
      <pc:sldChg chg="addSp delSp modSp add del mod modTransition">
        <pc:chgData name="Haavard Oestensen" userId="e1d95b87-88f0-4af7-a86d-fc8ee67ecb16" providerId="ADAL" clId="{1C37024E-9836-4EFE-98E3-569479564779}" dt="2022-06-06T04:26:31.885" v="2385" actId="47"/>
        <pc:sldMkLst>
          <pc:docMk/>
          <pc:sldMk cId="3813886250" sldId="2147327338"/>
        </pc:sldMkLst>
        <pc:spChg chg="del">
          <ac:chgData name="Haavard Oestensen" userId="e1d95b87-88f0-4af7-a86d-fc8ee67ecb16" providerId="ADAL" clId="{1C37024E-9836-4EFE-98E3-569479564779}" dt="2022-06-05T16:25:56.198" v="2069" actId="478"/>
          <ac:spMkLst>
            <pc:docMk/>
            <pc:sldMk cId="3813886250" sldId="2147327338"/>
            <ac:spMk id="2" creationId="{D03EA950-F0DA-4B39-996E-68476C6E92B7}"/>
          </ac:spMkLst>
        </pc:spChg>
        <pc:spChg chg="add mod">
          <ac:chgData name="Haavard Oestensen" userId="e1d95b87-88f0-4af7-a86d-fc8ee67ecb16" providerId="ADAL" clId="{1C37024E-9836-4EFE-98E3-569479564779}" dt="2022-06-05T16:25:56.198" v="2069" actId="478"/>
          <ac:spMkLst>
            <pc:docMk/>
            <pc:sldMk cId="3813886250" sldId="2147327338"/>
            <ac:spMk id="6" creationId="{F6461F47-01C6-4F62-8A16-82F41B198CC1}"/>
          </ac:spMkLst>
        </pc:spChg>
        <pc:spChg chg="mod">
          <ac:chgData name="Haavard Oestensen" userId="e1d95b87-88f0-4af7-a86d-fc8ee67ecb16" providerId="ADAL" clId="{1C37024E-9836-4EFE-98E3-569479564779}" dt="2022-06-05T16:28:54.734" v="2107" actId="2085"/>
          <ac:spMkLst>
            <pc:docMk/>
            <pc:sldMk cId="3813886250" sldId="2147327338"/>
            <ac:spMk id="22" creationId="{C7263549-9E68-4F2D-8F5B-FD651E1BE56E}"/>
          </ac:spMkLst>
        </pc:spChg>
        <pc:spChg chg="mod">
          <ac:chgData name="Haavard Oestensen" userId="e1d95b87-88f0-4af7-a86d-fc8ee67ecb16" providerId="ADAL" clId="{1C37024E-9836-4EFE-98E3-569479564779}" dt="2022-06-05T16:29:06.704" v="2109"/>
          <ac:spMkLst>
            <pc:docMk/>
            <pc:sldMk cId="3813886250" sldId="2147327338"/>
            <ac:spMk id="27" creationId="{FA94C5B2-4F7E-48CC-ABD2-534737CB04AF}"/>
          </ac:spMkLst>
        </pc:spChg>
        <pc:spChg chg="mod">
          <ac:chgData name="Haavard Oestensen" userId="e1d95b87-88f0-4af7-a86d-fc8ee67ecb16" providerId="ADAL" clId="{1C37024E-9836-4EFE-98E3-569479564779}" dt="2022-06-05T16:29:06.704" v="2109"/>
          <ac:spMkLst>
            <pc:docMk/>
            <pc:sldMk cId="3813886250" sldId="2147327338"/>
            <ac:spMk id="29" creationId="{9BE19C0C-EEDD-463B-83C4-C65089003F2D}"/>
          </ac:spMkLst>
        </pc:spChg>
        <pc:spChg chg="mod">
          <ac:chgData name="Haavard Oestensen" userId="e1d95b87-88f0-4af7-a86d-fc8ee67ecb16" providerId="ADAL" clId="{1C37024E-9836-4EFE-98E3-569479564779}" dt="2022-06-05T16:29:06.704" v="2109"/>
          <ac:spMkLst>
            <pc:docMk/>
            <pc:sldMk cId="3813886250" sldId="2147327338"/>
            <ac:spMk id="31" creationId="{150FD033-DD94-4558-A604-8FBC2BE8785D}"/>
          </ac:spMkLst>
        </pc:spChg>
        <pc:spChg chg="mod">
          <ac:chgData name="Haavard Oestensen" userId="e1d95b87-88f0-4af7-a86d-fc8ee67ecb16" providerId="ADAL" clId="{1C37024E-9836-4EFE-98E3-569479564779}" dt="2022-06-05T16:29:06.704" v="2109"/>
          <ac:spMkLst>
            <pc:docMk/>
            <pc:sldMk cId="3813886250" sldId="2147327338"/>
            <ac:spMk id="33" creationId="{84D748B3-AF4A-485D-91EF-872EFBE11289}"/>
          </ac:spMkLst>
        </pc:spChg>
        <pc:spChg chg="mod">
          <ac:chgData name="Haavard Oestensen" userId="e1d95b87-88f0-4af7-a86d-fc8ee67ecb16" providerId="ADAL" clId="{1C37024E-9836-4EFE-98E3-569479564779}" dt="2022-06-05T16:29:06.704" v="2109"/>
          <ac:spMkLst>
            <pc:docMk/>
            <pc:sldMk cId="3813886250" sldId="2147327338"/>
            <ac:spMk id="35" creationId="{40CE537F-1701-46EA-B833-623D6A9D3572}"/>
          </ac:spMkLst>
        </pc:spChg>
        <pc:spChg chg="mod">
          <ac:chgData name="Haavard Oestensen" userId="e1d95b87-88f0-4af7-a86d-fc8ee67ecb16" providerId="ADAL" clId="{1C37024E-9836-4EFE-98E3-569479564779}" dt="2022-06-05T16:29:06.704" v="2109"/>
          <ac:spMkLst>
            <pc:docMk/>
            <pc:sldMk cId="3813886250" sldId="2147327338"/>
            <ac:spMk id="36" creationId="{E8EC06AF-52F5-4BDD-800B-F1A42FE26610}"/>
          </ac:spMkLst>
        </pc:spChg>
        <pc:spChg chg="mod">
          <ac:chgData name="Haavard Oestensen" userId="e1d95b87-88f0-4af7-a86d-fc8ee67ecb16" providerId="ADAL" clId="{1C37024E-9836-4EFE-98E3-569479564779}" dt="2022-06-05T16:29:10.624" v="2111"/>
          <ac:spMkLst>
            <pc:docMk/>
            <pc:sldMk cId="3813886250" sldId="2147327338"/>
            <ac:spMk id="42" creationId="{F070B152-FD09-4CBF-8739-EFF194062E74}"/>
          </ac:spMkLst>
        </pc:spChg>
        <pc:spChg chg="mod">
          <ac:chgData name="Haavard Oestensen" userId="e1d95b87-88f0-4af7-a86d-fc8ee67ecb16" providerId="ADAL" clId="{1C37024E-9836-4EFE-98E3-569479564779}" dt="2022-06-05T16:29:10.624" v="2111"/>
          <ac:spMkLst>
            <pc:docMk/>
            <pc:sldMk cId="3813886250" sldId="2147327338"/>
            <ac:spMk id="44" creationId="{27B89434-3BB3-4C8B-92F4-DED86343BF4F}"/>
          </ac:spMkLst>
        </pc:spChg>
        <pc:spChg chg="mod">
          <ac:chgData name="Haavard Oestensen" userId="e1d95b87-88f0-4af7-a86d-fc8ee67ecb16" providerId="ADAL" clId="{1C37024E-9836-4EFE-98E3-569479564779}" dt="2022-06-05T16:29:10.624" v="2111"/>
          <ac:spMkLst>
            <pc:docMk/>
            <pc:sldMk cId="3813886250" sldId="2147327338"/>
            <ac:spMk id="46" creationId="{EF8E7778-CEF5-4FFF-AF78-DDE635CC04C1}"/>
          </ac:spMkLst>
        </pc:spChg>
        <pc:spChg chg="mod">
          <ac:chgData name="Haavard Oestensen" userId="e1d95b87-88f0-4af7-a86d-fc8ee67ecb16" providerId="ADAL" clId="{1C37024E-9836-4EFE-98E3-569479564779}" dt="2022-06-05T16:29:10.624" v="2111"/>
          <ac:spMkLst>
            <pc:docMk/>
            <pc:sldMk cId="3813886250" sldId="2147327338"/>
            <ac:spMk id="48" creationId="{506D675A-849C-420B-A217-9AD40E2D2187}"/>
          </ac:spMkLst>
        </pc:spChg>
        <pc:spChg chg="mod">
          <ac:chgData name="Haavard Oestensen" userId="e1d95b87-88f0-4af7-a86d-fc8ee67ecb16" providerId="ADAL" clId="{1C37024E-9836-4EFE-98E3-569479564779}" dt="2022-06-05T16:29:10.624" v="2111"/>
          <ac:spMkLst>
            <pc:docMk/>
            <pc:sldMk cId="3813886250" sldId="2147327338"/>
            <ac:spMk id="50" creationId="{3E05DFB2-477E-4B8B-909D-BCC16621DA4D}"/>
          </ac:spMkLst>
        </pc:spChg>
        <pc:spChg chg="mod">
          <ac:chgData name="Haavard Oestensen" userId="e1d95b87-88f0-4af7-a86d-fc8ee67ecb16" providerId="ADAL" clId="{1C37024E-9836-4EFE-98E3-569479564779}" dt="2022-06-05T16:29:10.624" v="2111"/>
          <ac:spMkLst>
            <pc:docMk/>
            <pc:sldMk cId="3813886250" sldId="2147327338"/>
            <ac:spMk id="51" creationId="{E8846648-5B33-4691-9D43-E0142BB87899}"/>
          </ac:spMkLst>
        </pc:spChg>
        <pc:grpChg chg="mod">
          <ac:chgData name="Haavard Oestensen" userId="e1d95b87-88f0-4af7-a86d-fc8ee67ecb16" providerId="ADAL" clId="{1C37024E-9836-4EFE-98E3-569479564779}" dt="2022-06-05T16:28:58.347" v="2108" actId="164"/>
          <ac:grpSpMkLst>
            <pc:docMk/>
            <pc:sldMk cId="3813886250" sldId="2147327338"/>
            <ac:grpSpMk id="3" creationId="{86794C6D-3950-42EE-9560-11E74F67D932}"/>
          </ac:grpSpMkLst>
        </pc:grpChg>
        <pc:grpChg chg="add mod">
          <ac:chgData name="Haavard Oestensen" userId="e1d95b87-88f0-4af7-a86d-fc8ee67ecb16" providerId="ADAL" clId="{1C37024E-9836-4EFE-98E3-569479564779}" dt="2022-06-05T16:28:58.347" v="2108" actId="164"/>
          <ac:grpSpMkLst>
            <pc:docMk/>
            <pc:sldMk cId="3813886250" sldId="2147327338"/>
            <ac:grpSpMk id="7" creationId="{D3B5EB1E-FA2A-4547-875F-3BA5193DD36C}"/>
          </ac:grpSpMkLst>
        </pc:grpChg>
        <pc:grpChg chg="add mod">
          <ac:chgData name="Haavard Oestensen" userId="e1d95b87-88f0-4af7-a86d-fc8ee67ecb16" providerId="ADAL" clId="{1C37024E-9836-4EFE-98E3-569479564779}" dt="2022-06-05T16:28:58.347" v="2108" actId="164"/>
          <ac:grpSpMkLst>
            <pc:docMk/>
            <pc:sldMk cId="3813886250" sldId="2147327338"/>
            <ac:grpSpMk id="17" creationId="{BCA5B826-DDDF-49F9-8EDF-A5494051E73A}"/>
          </ac:grpSpMkLst>
        </pc:grpChg>
        <pc:grpChg chg="add del mod">
          <ac:chgData name="Haavard Oestensen" userId="e1d95b87-88f0-4af7-a86d-fc8ee67ecb16" providerId="ADAL" clId="{1C37024E-9836-4EFE-98E3-569479564779}" dt="2022-06-05T16:29:07.424" v="2110"/>
          <ac:grpSpMkLst>
            <pc:docMk/>
            <pc:sldMk cId="3813886250" sldId="2147327338"/>
            <ac:grpSpMk id="23" creationId="{883A855F-41B0-4EE8-9618-DE9AC1B98044}"/>
          </ac:grpSpMkLst>
        </pc:grpChg>
        <pc:grpChg chg="mod">
          <ac:chgData name="Haavard Oestensen" userId="e1d95b87-88f0-4af7-a86d-fc8ee67ecb16" providerId="ADAL" clId="{1C37024E-9836-4EFE-98E3-569479564779}" dt="2022-06-05T16:29:06.704" v="2109"/>
          <ac:grpSpMkLst>
            <pc:docMk/>
            <pc:sldMk cId="3813886250" sldId="2147327338"/>
            <ac:grpSpMk id="24" creationId="{BA982622-7B97-4B4B-BCDC-E2EA8E92D566}"/>
          </ac:grpSpMkLst>
        </pc:grpChg>
        <pc:grpChg chg="mod">
          <ac:chgData name="Haavard Oestensen" userId="e1d95b87-88f0-4af7-a86d-fc8ee67ecb16" providerId="ADAL" clId="{1C37024E-9836-4EFE-98E3-569479564779}" dt="2022-06-05T16:29:06.704" v="2109"/>
          <ac:grpSpMkLst>
            <pc:docMk/>
            <pc:sldMk cId="3813886250" sldId="2147327338"/>
            <ac:grpSpMk id="25" creationId="{0AAC57DB-E8F8-4D21-8B8F-65D7BFD68854}"/>
          </ac:grpSpMkLst>
        </pc:grpChg>
        <pc:grpChg chg="add del mod">
          <ac:chgData name="Haavard Oestensen" userId="e1d95b87-88f0-4af7-a86d-fc8ee67ecb16" providerId="ADAL" clId="{1C37024E-9836-4EFE-98E3-569479564779}" dt="2022-06-05T16:29:11.210" v="2112"/>
          <ac:grpSpMkLst>
            <pc:docMk/>
            <pc:sldMk cId="3813886250" sldId="2147327338"/>
            <ac:grpSpMk id="38" creationId="{130F0C2C-04D8-470C-B6DC-470353565FC2}"/>
          </ac:grpSpMkLst>
        </pc:grpChg>
        <pc:grpChg chg="mod">
          <ac:chgData name="Haavard Oestensen" userId="e1d95b87-88f0-4af7-a86d-fc8ee67ecb16" providerId="ADAL" clId="{1C37024E-9836-4EFE-98E3-569479564779}" dt="2022-06-05T16:29:10.624" v="2111"/>
          <ac:grpSpMkLst>
            <pc:docMk/>
            <pc:sldMk cId="3813886250" sldId="2147327338"/>
            <ac:grpSpMk id="39" creationId="{5E0EC2B7-5FFF-432D-94DE-B25515BBA206}"/>
          </ac:grpSpMkLst>
        </pc:grpChg>
        <pc:grpChg chg="mod">
          <ac:chgData name="Haavard Oestensen" userId="e1d95b87-88f0-4af7-a86d-fc8ee67ecb16" providerId="ADAL" clId="{1C37024E-9836-4EFE-98E3-569479564779}" dt="2022-06-05T16:29:10.624" v="2111"/>
          <ac:grpSpMkLst>
            <pc:docMk/>
            <pc:sldMk cId="3813886250" sldId="2147327338"/>
            <ac:grpSpMk id="40" creationId="{F8E5774B-FE88-4C15-AEBE-C66A62990F5D}"/>
          </ac:grpSpMkLst>
        </pc:grpChg>
        <pc:picChg chg="mod">
          <ac:chgData name="Haavard Oestensen" userId="e1d95b87-88f0-4af7-a86d-fc8ee67ecb16" providerId="ADAL" clId="{1C37024E-9836-4EFE-98E3-569479564779}" dt="2022-06-05T16:28:54.734" v="2107" actId="2085"/>
          <ac:picMkLst>
            <pc:docMk/>
            <pc:sldMk cId="3813886250" sldId="2147327338"/>
            <ac:picMk id="20" creationId="{9E6D007F-0413-4997-B967-8C148CC35BC4}"/>
          </ac:picMkLst>
        </pc:picChg>
        <pc:picChg chg="mod">
          <ac:chgData name="Haavard Oestensen" userId="e1d95b87-88f0-4af7-a86d-fc8ee67ecb16" providerId="ADAL" clId="{1C37024E-9836-4EFE-98E3-569479564779}" dt="2022-06-05T16:29:06.704" v="2109"/>
          <ac:picMkLst>
            <pc:docMk/>
            <pc:sldMk cId="3813886250" sldId="2147327338"/>
            <ac:picMk id="26" creationId="{721195C3-B5A6-4438-9BA2-4BA24C4BBB7A}"/>
          </ac:picMkLst>
        </pc:picChg>
        <pc:picChg chg="mod">
          <ac:chgData name="Haavard Oestensen" userId="e1d95b87-88f0-4af7-a86d-fc8ee67ecb16" providerId="ADAL" clId="{1C37024E-9836-4EFE-98E3-569479564779}" dt="2022-06-05T16:29:06.704" v="2109"/>
          <ac:picMkLst>
            <pc:docMk/>
            <pc:sldMk cId="3813886250" sldId="2147327338"/>
            <ac:picMk id="28" creationId="{086E4568-3818-4C7A-9014-1EDED109A6EB}"/>
          </ac:picMkLst>
        </pc:picChg>
        <pc:picChg chg="mod">
          <ac:chgData name="Haavard Oestensen" userId="e1d95b87-88f0-4af7-a86d-fc8ee67ecb16" providerId="ADAL" clId="{1C37024E-9836-4EFE-98E3-569479564779}" dt="2022-06-05T16:29:06.704" v="2109"/>
          <ac:picMkLst>
            <pc:docMk/>
            <pc:sldMk cId="3813886250" sldId="2147327338"/>
            <ac:picMk id="30" creationId="{BACCC408-34E3-46AD-872E-096278336377}"/>
          </ac:picMkLst>
        </pc:picChg>
        <pc:picChg chg="mod">
          <ac:chgData name="Haavard Oestensen" userId="e1d95b87-88f0-4af7-a86d-fc8ee67ecb16" providerId="ADAL" clId="{1C37024E-9836-4EFE-98E3-569479564779}" dt="2022-06-05T16:29:06.704" v="2109"/>
          <ac:picMkLst>
            <pc:docMk/>
            <pc:sldMk cId="3813886250" sldId="2147327338"/>
            <ac:picMk id="32" creationId="{F77784FD-E072-4070-AC04-951C6B93AC15}"/>
          </ac:picMkLst>
        </pc:picChg>
        <pc:picChg chg="mod">
          <ac:chgData name="Haavard Oestensen" userId="e1d95b87-88f0-4af7-a86d-fc8ee67ecb16" providerId="ADAL" clId="{1C37024E-9836-4EFE-98E3-569479564779}" dt="2022-06-05T16:29:06.704" v="2109"/>
          <ac:picMkLst>
            <pc:docMk/>
            <pc:sldMk cId="3813886250" sldId="2147327338"/>
            <ac:picMk id="34" creationId="{3F7FB699-063A-4D49-BCF4-01D5FBB0BE07}"/>
          </ac:picMkLst>
        </pc:picChg>
        <pc:picChg chg="mod">
          <ac:chgData name="Haavard Oestensen" userId="e1d95b87-88f0-4af7-a86d-fc8ee67ecb16" providerId="ADAL" clId="{1C37024E-9836-4EFE-98E3-569479564779}" dt="2022-06-05T16:29:10.624" v="2111"/>
          <ac:picMkLst>
            <pc:docMk/>
            <pc:sldMk cId="3813886250" sldId="2147327338"/>
            <ac:picMk id="41" creationId="{A2947D29-3AA7-4086-9322-A7B44D063B03}"/>
          </ac:picMkLst>
        </pc:picChg>
        <pc:picChg chg="mod">
          <ac:chgData name="Haavard Oestensen" userId="e1d95b87-88f0-4af7-a86d-fc8ee67ecb16" providerId="ADAL" clId="{1C37024E-9836-4EFE-98E3-569479564779}" dt="2022-06-05T16:29:10.624" v="2111"/>
          <ac:picMkLst>
            <pc:docMk/>
            <pc:sldMk cId="3813886250" sldId="2147327338"/>
            <ac:picMk id="43" creationId="{91973AB3-5856-4CD1-AC3D-273F5456FA5B}"/>
          </ac:picMkLst>
        </pc:picChg>
        <pc:picChg chg="mod">
          <ac:chgData name="Haavard Oestensen" userId="e1d95b87-88f0-4af7-a86d-fc8ee67ecb16" providerId="ADAL" clId="{1C37024E-9836-4EFE-98E3-569479564779}" dt="2022-06-05T16:29:10.624" v="2111"/>
          <ac:picMkLst>
            <pc:docMk/>
            <pc:sldMk cId="3813886250" sldId="2147327338"/>
            <ac:picMk id="45" creationId="{34E8B234-1228-4786-8573-7060CB943DF9}"/>
          </ac:picMkLst>
        </pc:picChg>
        <pc:picChg chg="mod">
          <ac:chgData name="Haavard Oestensen" userId="e1d95b87-88f0-4af7-a86d-fc8ee67ecb16" providerId="ADAL" clId="{1C37024E-9836-4EFE-98E3-569479564779}" dt="2022-06-05T16:29:10.624" v="2111"/>
          <ac:picMkLst>
            <pc:docMk/>
            <pc:sldMk cId="3813886250" sldId="2147327338"/>
            <ac:picMk id="47" creationId="{5929CF9B-C174-4A26-B572-3EB55A72D475}"/>
          </ac:picMkLst>
        </pc:picChg>
        <pc:picChg chg="mod">
          <ac:chgData name="Haavard Oestensen" userId="e1d95b87-88f0-4af7-a86d-fc8ee67ecb16" providerId="ADAL" clId="{1C37024E-9836-4EFE-98E3-569479564779}" dt="2022-06-05T16:29:10.624" v="2111"/>
          <ac:picMkLst>
            <pc:docMk/>
            <pc:sldMk cId="3813886250" sldId="2147327338"/>
            <ac:picMk id="49" creationId="{7D578378-46CD-47D5-B50A-84EA4C71F6B0}"/>
          </ac:picMkLst>
        </pc:picChg>
        <pc:cxnChg chg="mod">
          <ac:chgData name="Haavard Oestensen" userId="e1d95b87-88f0-4af7-a86d-fc8ee67ecb16" providerId="ADAL" clId="{1C37024E-9836-4EFE-98E3-569479564779}" dt="2022-06-05T16:29:06.704" v="2109"/>
          <ac:cxnSpMkLst>
            <pc:docMk/>
            <pc:sldMk cId="3813886250" sldId="2147327338"/>
            <ac:cxnSpMk id="37" creationId="{F5FAB14A-78E8-4AE7-8480-1912CC1B2B2C}"/>
          </ac:cxnSpMkLst>
        </pc:cxnChg>
        <pc:cxnChg chg="mod">
          <ac:chgData name="Haavard Oestensen" userId="e1d95b87-88f0-4af7-a86d-fc8ee67ecb16" providerId="ADAL" clId="{1C37024E-9836-4EFE-98E3-569479564779}" dt="2022-06-05T16:29:10.624" v="2111"/>
          <ac:cxnSpMkLst>
            <pc:docMk/>
            <pc:sldMk cId="3813886250" sldId="2147327338"/>
            <ac:cxnSpMk id="52" creationId="{6FFC9F24-525E-41B2-9D8C-9349DBBB10CB}"/>
          </ac:cxnSpMkLst>
        </pc:cxnChg>
      </pc:sldChg>
      <pc:sldChg chg="addSp delSp modSp new mod modTransition">
        <pc:chgData name="Haavard Oestensen" userId="e1d95b87-88f0-4af7-a86d-fc8ee67ecb16" providerId="ADAL" clId="{1C37024E-9836-4EFE-98E3-569479564779}" dt="2022-06-05T16:33:08.782" v="2152" actId="1076"/>
        <pc:sldMkLst>
          <pc:docMk/>
          <pc:sldMk cId="3339961247" sldId="2147327339"/>
        </pc:sldMkLst>
        <pc:spChg chg="del">
          <ac:chgData name="Haavard Oestensen" userId="e1d95b87-88f0-4af7-a86d-fc8ee67ecb16" providerId="ADAL" clId="{1C37024E-9836-4EFE-98E3-569479564779}" dt="2022-06-05T16:20:14.084" v="2033" actId="478"/>
          <ac:spMkLst>
            <pc:docMk/>
            <pc:sldMk cId="3339961247" sldId="2147327339"/>
            <ac:spMk id="2" creationId="{06DDDA7E-204C-4C03-BDBD-A06575CDD7B9}"/>
          </ac:spMkLst>
        </pc:spChg>
        <pc:spChg chg="del">
          <ac:chgData name="Haavard Oestensen" userId="e1d95b87-88f0-4af7-a86d-fc8ee67ecb16" providerId="ADAL" clId="{1C37024E-9836-4EFE-98E3-569479564779}" dt="2022-06-05T16:20:14.084" v="2033" actId="478"/>
          <ac:spMkLst>
            <pc:docMk/>
            <pc:sldMk cId="3339961247" sldId="2147327339"/>
            <ac:spMk id="3" creationId="{C2263935-1ACF-4E14-B0F6-6915382E0DA4}"/>
          </ac:spMkLst>
        </pc:spChg>
        <pc:spChg chg="del">
          <ac:chgData name="Haavard Oestensen" userId="e1d95b87-88f0-4af7-a86d-fc8ee67ecb16" providerId="ADAL" clId="{1C37024E-9836-4EFE-98E3-569479564779}" dt="2022-06-05T16:20:14.084" v="2033" actId="478"/>
          <ac:spMkLst>
            <pc:docMk/>
            <pc:sldMk cId="3339961247" sldId="2147327339"/>
            <ac:spMk id="4" creationId="{D032A0ED-7CAB-45CB-BB3E-94C379D55E65}"/>
          </ac:spMkLst>
        </pc:spChg>
        <pc:spChg chg="mod">
          <ac:chgData name="Haavard Oestensen" userId="e1d95b87-88f0-4af7-a86d-fc8ee67ecb16" providerId="ADAL" clId="{1C37024E-9836-4EFE-98E3-569479564779}" dt="2022-06-05T16:21:46.403" v="2039"/>
          <ac:spMkLst>
            <pc:docMk/>
            <pc:sldMk cId="3339961247" sldId="2147327339"/>
            <ac:spMk id="12" creationId="{2B519515-1C55-4A9E-ACD8-4B2542A1C48C}"/>
          </ac:spMkLst>
        </pc:spChg>
        <pc:spChg chg="mod">
          <ac:chgData name="Haavard Oestensen" userId="e1d95b87-88f0-4af7-a86d-fc8ee67ecb16" providerId="ADAL" clId="{1C37024E-9836-4EFE-98E3-569479564779}" dt="2022-06-05T16:21:46.403" v="2039"/>
          <ac:spMkLst>
            <pc:docMk/>
            <pc:sldMk cId="3339961247" sldId="2147327339"/>
            <ac:spMk id="14" creationId="{3749B1DB-34D1-4F5A-86D5-418C20A04774}"/>
          </ac:spMkLst>
        </pc:spChg>
        <pc:spChg chg="mod">
          <ac:chgData name="Haavard Oestensen" userId="e1d95b87-88f0-4af7-a86d-fc8ee67ecb16" providerId="ADAL" clId="{1C37024E-9836-4EFE-98E3-569479564779}" dt="2022-06-05T16:21:46.403" v="2039"/>
          <ac:spMkLst>
            <pc:docMk/>
            <pc:sldMk cId="3339961247" sldId="2147327339"/>
            <ac:spMk id="16" creationId="{6FEA5F7D-8948-4F9B-A904-647EE2C9D234}"/>
          </ac:spMkLst>
        </pc:spChg>
        <pc:spChg chg="mod">
          <ac:chgData name="Haavard Oestensen" userId="e1d95b87-88f0-4af7-a86d-fc8ee67ecb16" providerId="ADAL" clId="{1C37024E-9836-4EFE-98E3-569479564779}" dt="2022-06-05T16:22:35.005" v="2053" actId="404"/>
          <ac:spMkLst>
            <pc:docMk/>
            <pc:sldMk cId="3339961247" sldId="2147327339"/>
            <ac:spMk id="18" creationId="{B45A5F3D-D57C-48E4-B6B7-2AFCBD81ACA3}"/>
          </ac:spMkLst>
        </pc:spChg>
        <pc:spChg chg="mod">
          <ac:chgData name="Haavard Oestensen" userId="e1d95b87-88f0-4af7-a86d-fc8ee67ecb16" providerId="ADAL" clId="{1C37024E-9836-4EFE-98E3-569479564779}" dt="2022-06-05T16:22:29.701" v="2052" actId="404"/>
          <ac:spMkLst>
            <pc:docMk/>
            <pc:sldMk cId="3339961247" sldId="2147327339"/>
            <ac:spMk id="19" creationId="{AC0E58DB-B98F-4851-B484-2D8E71CA9F7D}"/>
          </ac:spMkLst>
        </pc:spChg>
        <pc:grpChg chg="add mod">
          <ac:chgData name="Haavard Oestensen" userId="e1d95b87-88f0-4af7-a86d-fc8ee67ecb16" providerId="ADAL" clId="{1C37024E-9836-4EFE-98E3-569479564779}" dt="2022-06-05T16:21:59.720" v="2043" actId="1076"/>
          <ac:grpSpMkLst>
            <pc:docMk/>
            <pc:sldMk cId="3339961247" sldId="2147327339"/>
            <ac:grpSpMk id="10" creationId="{20BDA1F3-1F43-4EE8-9EB7-C41788999833}"/>
          </ac:grpSpMkLst>
        </pc:grpChg>
        <pc:picChg chg="add del mod">
          <ac:chgData name="Haavard Oestensen" userId="e1d95b87-88f0-4af7-a86d-fc8ee67ecb16" providerId="ADAL" clId="{1C37024E-9836-4EFE-98E3-569479564779}" dt="2022-06-05T16:21:07.485" v="2036" actId="478"/>
          <ac:picMkLst>
            <pc:docMk/>
            <pc:sldMk cId="3339961247" sldId="2147327339"/>
            <ac:picMk id="7" creationId="{575F0CF5-6073-4062-AC3D-96CC106E8AEE}"/>
          </ac:picMkLst>
        </pc:picChg>
        <pc:picChg chg="add mod">
          <ac:chgData name="Haavard Oestensen" userId="e1d95b87-88f0-4af7-a86d-fc8ee67ecb16" providerId="ADAL" clId="{1C37024E-9836-4EFE-98E3-569479564779}" dt="2022-06-05T16:22:02.256" v="2045" actId="1076"/>
          <ac:picMkLst>
            <pc:docMk/>
            <pc:sldMk cId="3339961247" sldId="2147327339"/>
            <ac:picMk id="9" creationId="{1D511AC5-17E1-42F8-BF98-A302CF033FD6}"/>
          </ac:picMkLst>
        </pc:picChg>
        <pc:picChg chg="mod">
          <ac:chgData name="Haavard Oestensen" userId="e1d95b87-88f0-4af7-a86d-fc8ee67ecb16" providerId="ADAL" clId="{1C37024E-9836-4EFE-98E3-569479564779}" dt="2022-06-05T16:21:46.403" v="2039"/>
          <ac:picMkLst>
            <pc:docMk/>
            <pc:sldMk cId="3339961247" sldId="2147327339"/>
            <ac:picMk id="11" creationId="{D73FB490-E5E7-45CF-9F7F-612AE817EA4F}"/>
          </ac:picMkLst>
        </pc:picChg>
        <pc:picChg chg="mod">
          <ac:chgData name="Haavard Oestensen" userId="e1d95b87-88f0-4af7-a86d-fc8ee67ecb16" providerId="ADAL" clId="{1C37024E-9836-4EFE-98E3-569479564779}" dt="2022-06-05T16:21:46.403" v="2039"/>
          <ac:picMkLst>
            <pc:docMk/>
            <pc:sldMk cId="3339961247" sldId="2147327339"/>
            <ac:picMk id="13" creationId="{FC21BBEA-6815-4F63-9F6E-49622A8D65F9}"/>
          </ac:picMkLst>
        </pc:picChg>
        <pc:picChg chg="mod">
          <ac:chgData name="Haavard Oestensen" userId="e1d95b87-88f0-4af7-a86d-fc8ee67ecb16" providerId="ADAL" clId="{1C37024E-9836-4EFE-98E3-569479564779}" dt="2022-06-05T16:21:46.403" v="2039"/>
          <ac:picMkLst>
            <pc:docMk/>
            <pc:sldMk cId="3339961247" sldId="2147327339"/>
            <ac:picMk id="15" creationId="{9FE85686-29E0-4F56-812A-13B048651755}"/>
          </ac:picMkLst>
        </pc:picChg>
        <pc:picChg chg="mod">
          <ac:chgData name="Haavard Oestensen" userId="e1d95b87-88f0-4af7-a86d-fc8ee67ecb16" providerId="ADAL" clId="{1C37024E-9836-4EFE-98E3-569479564779}" dt="2022-06-05T16:21:46.403" v="2039"/>
          <ac:picMkLst>
            <pc:docMk/>
            <pc:sldMk cId="3339961247" sldId="2147327339"/>
            <ac:picMk id="17" creationId="{6607970D-958D-48CB-895A-6666DBADA0FD}"/>
          </ac:picMkLst>
        </pc:picChg>
        <pc:picChg chg="add mod modCrop">
          <ac:chgData name="Haavard Oestensen" userId="e1d95b87-88f0-4af7-a86d-fc8ee67ecb16" providerId="ADAL" clId="{1C37024E-9836-4EFE-98E3-569479564779}" dt="2022-06-05T16:33:08.782" v="2152" actId="1076"/>
          <ac:picMkLst>
            <pc:docMk/>
            <pc:sldMk cId="3339961247" sldId="2147327339"/>
            <ac:picMk id="21" creationId="{0065F5BB-B04B-4539-9238-852DB4E657C2}"/>
          </ac:picMkLst>
        </pc:picChg>
        <pc:cxnChg chg="mod">
          <ac:chgData name="Haavard Oestensen" userId="e1d95b87-88f0-4af7-a86d-fc8ee67ecb16" providerId="ADAL" clId="{1C37024E-9836-4EFE-98E3-569479564779}" dt="2022-06-05T16:21:46.403" v="2039"/>
          <ac:cxnSpMkLst>
            <pc:docMk/>
            <pc:sldMk cId="3339961247" sldId="2147327339"/>
            <ac:cxnSpMk id="20" creationId="{B089AEDD-71C1-4171-96D2-DA33D4A61781}"/>
          </ac:cxnSpMkLst>
        </pc:cxnChg>
      </pc:sldChg>
      <pc:sldChg chg="addSp delSp modSp new mod modTransition">
        <pc:chgData name="Haavard Oestensen" userId="e1d95b87-88f0-4af7-a86d-fc8ee67ecb16" providerId="ADAL" clId="{1C37024E-9836-4EFE-98E3-569479564779}" dt="2022-06-06T05:19:13.764" v="2466" actId="478"/>
        <pc:sldMkLst>
          <pc:docMk/>
          <pc:sldMk cId="398139526" sldId="2147327340"/>
        </pc:sldMkLst>
        <pc:spChg chg="del">
          <ac:chgData name="Haavard Oestensen" userId="e1d95b87-88f0-4af7-a86d-fc8ee67ecb16" providerId="ADAL" clId="{1C37024E-9836-4EFE-98E3-569479564779}" dt="2022-06-06T05:19:13.764" v="2466" actId="478"/>
          <ac:spMkLst>
            <pc:docMk/>
            <pc:sldMk cId="398139526" sldId="2147327340"/>
            <ac:spMk id="2" creationId="{0712BEA0-5BC1-4660-9370-CA4CE5656817}"/>
          </ac:spMkLst>
        </pc:spChg>
        <pc:spChg chg="add del mod topLvl">
          <ac:chgData name="Haavard Oestensen" userId="e1d95b87-88f0-4af7-a86d-fc8ee67ecb16" providerId="ADAL" clId="{1C37024E-9836-4EFE-98E3-569479564779}" dt="2022-06-06T05:19:01.218" v="2464" actId="478"/>
          <ac:spMkLst>
            <pc:docMk/>
            <pc:sldMk cId="398139526" sldId="2147327340"/>
            <ac:spMk id="10" creationId="{423BE467-50CB-4403-BDC1-B892B8F5B7BE}"/>
          </ac:spMkLst>
        </pc:spChg>
        <pc:spChg chg="mod">
          <ac:chgData name="Haavard Oestensen" userId="e1d95b87-88f0-4af7-a86d-fc8ee67ecb16" providerId="ADAL" clId="{1C37024E-9836-4EFE-98E3-569479564779}" dt="2022-06-06T05:18:22.792" v="2459" actId="165"/>
          <ac:spMkLst>
            <pc:docMk/>
            <pc:sldMk cId="398139526" sldId="2147327340"/>
            <ac:spMk id="12" creationId="{13FCF539-15B8-4DC3-8138-B7824537158A}"/>
          </ac:spMkLst>
        </pc:spChg>
        <pc:spChg chg="mod">
          <ac:chgData name="Haavard Oestensen" userId="e1d95b87-88f0-4af7-a86d-fc8ee67ecb16" providerId="ADAL" clId="{1C37024E-9836-4EFE-98E3-569479564779}" dt="2022-06-06T05:18:22.792" v="2459" actId="165"/>
          <ac:spMkLst>
            <pc:docMk/>
            <pc:sldMk cId="398139526" sldId="2147327340"/>
            <ac:spMk id="14" creationId="{99E84D68-D347-43DF-8F0F-E793BD99FB94}"/>
          </ac:spMkLst>
        </pc:spChg>
        <pc:spChg chg="mod">
          <ac:chgData name="Haavard Oestensen" userId="e1d95b87-88f0-4af7-a86d-fc8ee67ecb16" providerId="ADAL" clId="{1C37024E-9836-4EFE-98E3-569479564779}" dt="2022-06-06T05:18:22.792" v="2459" actId="165"/>
          <ac:spMkLst>
            <pc:docMk/>
            <pc:sldMk cId="398139526" sldId="2147327340"/>
            <ac:spMk id="16" creationId="{E4AD9F02-91CB-4D7D-948A-1F58AE8C9910}"/>
          </ac:spMkLst>
        </pc:spChg>
        <pc:spChg chg="mod">
          <ac:chgData name="Haavard Oestensen" userId="e1d95b87-88f0-4af7-a86d-fc8ee67ecb16" providerId="ADAL" clId="{1C37024E-9836-4EFE-98E3-569479564779}" dt="2022-06-06T05:18:22.792" v="2459" actId="165"/>
          <ac:spMkLst>
            <pc:docMk/>
            <pc:sldMk cId="398139526" sldId="2147327340"/>
            <ac:spMk id="18" creationId="{20D4D416-A643-454A-883B-C13B903351B6}"/>
          </ac:spMkLst>
        </pc:spChg>
        <pc:spChg chg="mod">
          <ac:chgData name="Haavard Oestensen" userId="e1d95b87-88f0-4af7-a86d-fc8ee67ecb16" providerId="ADAL" clId="{1C37024E-9836-4EFE-98E3-569479564779}" dt="2022-06-06T05:18:22.792" v="2459" actId="165"/>
          <ac:spMkLst>
            <pc:docMk/>
            <pc:sldMk cId="398139526" sldId="2147327340"/>
            <ac:spMk id="19" creationId="{DBEB1AAC-23FB-467E-A659-1F19B297CF16}"/>
          </ac:spMkLst>
        </pc:spChg>
        <pc:grpChg chg="add del mod">
          <ac:chgData name="Haavard Oestensen" userId="e1d95b87-88f0-4af7-a86d-fc8ee67ecb16" providerId="ADAL" clId="{1C37024E-9836-4EFE-98E3-569479564779}" dt="2022-06-06T05:18:22.792" v="2459" actId="165"/>
          <ac:grpSpMkLst>
            <pc:docMk/>
            <pc:sldMk cId="398139526" sldId="2147327340"/>
            <ac:grpSpMk id="6" creationId="{D5CF9788-0900-4708-9ABC-3AA7D1406A4E}"/>
          </ac:grpSpMkLst>
        </pc:grpChg>
        <pc:grpChg chg="mod topLvl">
          <ac:chgData name="Haavard Oestensen" userId="e1d95b87-88f0-4af7-a86d-fc8ee67ecb16" providerId="ADAL" clId="{1C37024E-9836-4EFE-98E3-569479564779}" dt="2022-06-06T05:18:22.792" v="2459" actId="165"/>
          <ac:grpSpMkLst>
            <pc:docMk/>
            <pc:sldMk cId="398139526" sldId="2147327340"/>
            <ac:grpSpMk id="7" creationId="{BCF7C731-3BF0-4386-9ECE-A843E1D7DC49}"/>
          </ac:grpSpMkLst>
        </pc:grpChg>
        <pc:grpChg chg="del mod topLvl">
          <ac:chgData name="Haavard Oestensen" userId="e1d95b87-88f0-4af7-a86d-fc8ee67ecb16" providerId="ADAL" clId="{1C37024E-9836-4EFE-98E3-569479564779}" dt="2022-06-06T05:18:40.488" v="2460" actId="165"/>
          <ac:grpSpMkLst>
            <pc:docMk/>
            <pc:sldMk cId="398139526" sldId="2147327340"/>
            <ac:grpSpMk id="8" creationId="{C847AB4D-CC7B-4A92-BF69-2DA0174152A2}"/>
          </ac:grpSpMkLst>
        </pc:grpChg>
        <pc:picChg chg="mod topLvl modCrop">
          <ac:chgData name="Haavard Oestensen" userId="e1d95b87-88f0-4af7-a86d-fc8ee67ecb16" providerId="ADAL" clId="{1C37024E-9836-4EFE-98E3-569479564779}" dt="2022-06-06T05:19:10.475" v="2465" actId="732"/>
          <ac:picMkLst>
            <pc:docMk/>
            <pc:sldMk cId="398139526" sldId="2147327340"/>
            <ac:picMk id="9" creationId="{4DBCC76C-9DCE-429F-8937-5313BA20D390}"/>
          </ac:picMkLst>
        </pc:picChg>
        <pc:picChg chg="mod">
          <ac:chgData name="Haavard Oestensen" userId="e1d95b87-88f0-4af7-a86d-fc8ee67ecb16" providerId="ADAL" clId="{1C37024E-9836-4EFE-98E3-569479564779}" dt="2022-06-06T05:18:22.792" v="2459" actId="165"/>
          <ac:picMkLst>
            <pc:docMk/>
            <pc:sldMk cId="398139526" sldId="2147327340"/>
            <ac:picMk id="11" creationId="{130E0CC8-774C-4A32-864C-F050727E6B11}"/>
          </ac:picMkLst>
        </pc:picChg>
        <pc:picChg chg="mod">
          <ac:chgData name="Haavard Oestensen" userId="e1d95b87-88f0-4af7-a86d-fc8ee67ecb16" providerId="ADAL" clId="{1C37024E-9836-4EFE-98E3-569479564779}" dt="2022-06-06T05:18:22.792" v="2459" actId="165"/>
          <ac:picMkLst>
            <pc:docMk/>
            <pc:sldMk cId="398139526" sldId="2147327340"/>
            <ac:picMk id="13" creationId="{B5E3E87C-12AA-4402-98F6-2900E1CCAD1B}"/>
          </ac:picMkLst>
        </pc:picChg>
        <pc:picChg chg="mod">
          <ac:chgData name="Haavard Oestensen" userId="e1d95b87-88f0-4af7-a86d-fc8ee67ecb16" providerId="ADAL" clId="{1C37024E-9836-4EFE-98E3-569479564779}" dt="2022-06-06T05:18:22.792" v="2459" actId="165"/>
          <ac:picMkLst>
            <pc:docMk/>
            <pc:sldMk cId="398139526" sldId="2147327340"/>
            <ac:picMk id="15" creationId="{C6B2F5B9-6F25-44EF-A817-9BBD1A70E0A4}"/>
          </ac:picMkLst>
        </pc:picChg>
        <pc:picChg chg="mod">
          <ac:chgData name="Haavard Oestensen" userId="e1d95b87-88f0-4af7-a86d-fc8ee67ecb16" providerId="ADAL" clId="{1C37024E-9836-4EFE-98E3-569479564779}" dt="2022-06-06T05:18:22.792" v="2459" actId="165"/>
          <ac:picMkLst>
            <pc:docMk/>
            <pc:sldMk cId="398139526" sldId="2147327340"/>
            <ac:picMk id="17" creationId="{F680C500-57C9-4458-9A97-1436A34D1D43}"/>
          </ac:picMkLst>
        </pc:picChg>
        <pc:cxnChg chg="mod">
          <ac:chgData name="Haavard Oestensen" userId="e1d95b87-88f0-4af7-a86d-fc8ee67ecb16" providerId="ADAL" clId="{1C37024E-9836-4EFE-98E3-569479564779}" dt="2022-06-06T05:18:22.792" v="2459" actId="165"/>
          <ac:cxnSpMkLst>
            <pc:docMk/>
            <pc:sldMk cId="398139526" sldId="2147327340"/>
            <ac:cxnSpMk id="20" creationId="{52DE16C5-D6FA-4A04-B628-2FF1CD051E8A}"/>
          </ac:cxnSpMkLst>
        </pc:cxnChg>
      </pc:sldChg>
      <pc:sldChg chg="addSp delSp modSp new mod modTransition">
        <pc:chgData name="Haavard Oestensen" userId="e1d95b87-88f0-4af7-a86d-fc8ee67ecb16" providerId="ADAL" clId="{1C37024E-9836-4EFE-98E3-569479564779}" dt="2022-06-05T16:30:40.056" v="2136"/>
        <pc:sldMkLst>
          <pc:docMk/>
          <pc:sldMk cId="3574865523" sldId="2147327341"/>
        </pc:sldMkLst>
        <pc:spChg chg="del">
          <ac:chgData name="Haavard Oestensen" userId="e1d95b87-88f0-4af7-a86d-fc8ee67ecb16" providerId="ADAL" clId="{1C37024E-9836-4EFE-98E3-569479564779}" dt="2022-06-05T16:29:55.552" v="2118" actId="478"/>
          <ac:spMkLst>
            <pc:docMk/>
            <pc:sldMk cId="3574865523" sldId="2147327341"/>
            <ac:spMk id="2" creationId="{CCA8AE86-485E-4A71-93F9-A5B7A8690868}"/>
          </ac:spMkLst>
        </pc:spChg>
        <pc:spChg chg="del">
          <ac:chgData name="Haavard Oestensen" userId="e1d95b87-88f0-4af7-a86d-fc8ee67ecb16" providerId="ADAL" clId="{1C37024E-9836-4EFE-98E3-569479564779}" dt="2022-06-05T16:29:55.552" v="2118" actId="478"/>
          <ac:spMkLst>
            <pc:docMk/>
            <pc:sldMk cId="3574865523" sldId="2147327341"/>
            <ac:spMk id="3" creationId="{2DBC32EC-C107-4361-91CE-9786C9146F55}"/>
          </ac:spMkLst>
        </pc:spChg>
        <pc:spChg chg="del">
          <ac:chgData name="Haavard Oestensen" userId="e1d95b87-88f0-4af7-a86d-fc8ee67ecb16" providerId="ADAL" clId="{1C37024E-9836-4EFE-98E3-569479564779}" dt="2022-06-05T16:29:55.552" v="2118" actId="478"/>
          <ac:spMkLst>
            <pc:docMk/>
            <pc:sldMk cId="3574865523" sldId="2147327341"/>
            <ac:spMk id="4" creationId="{C0046541-9A9A-4E9C-8712-CDF0BC8E0430}"/>
          </ac:spMkLst>
        </pc:spChg>
        <pc:spChg chg="del">
          <ac:chgData name="Haavard Oestensen" userId="e1d95b87-88f0-4af7-a86d-fc8ee67ecb16" providerId="ADAL" clId="{1C37024E-9836-4EFE-98E3-569479564779}" dt="2022-06-05T16:29:55.552" v="2118" actId="478"/>
          <ac:spMkLst>
            <pc:docMk/>
            <pc:sldMk cId="3574865523" sldId="2147327341"/>
            <ac:spMk id="5" creationId="{33539942-44B4-4733-818D-73A85EDBCAE7}"/>
          </ac:spMkLst>
        </pc:spChg>
        <pc:spChg chg="mod">
          <ac:chgData name="Haavard Oestensen" userId="e1d95b87-88f0-4af7-a86d-fc8ee67ecb16" providerId="ADAL" clId="{1C37024E-9836-4EFE-98E3-569479564779}" dt="2022-06-05T16:29:56.201" v="2119"/>
          <ac:spMkLst>
            <pc:docMk/>
            <pc:sldMk cId="3574865523" sldId="2147327341"/>
            <ac:spMk id="10" creationId="{1B26E8E5-9E4E-4534-816B-ACA8EA750435}"/>
          </ac:spMkLst>
        </pc:spChg>
        <pc:spChg chg="mod">
          <ac:chgData name="Haavard Oestensen" userId="e1d95b87-88f0-4af7-a86d-fc8ee67ecb16" providerId="ADAL" clId="{1C37024E-9836-4EFE-98E3-569479564779}" dt="2022-06-05T16:29:56.201" v="2119"/>
          <ac:spMkLst>
            <pc:docMk/>
            <pc:sldMk cId="3574865523" sldId="2147327341"/>
            <ac:spMk id="12" creationId="{2B67753A-463F-49EF-ABFB-86617B38B2F0}"/>
          </ac:spMkLst>
        </pc:spChg>
        <pc:spChg chg="mod">
          <ac:chgData name="Haavard Oestensen" userId="e1d95b87-88f0-4af7-a86d-fc8ee67ecb16" providerId="ADAL" clId="{1C37024E-9836-4EFE-98E3-569479564779}" dt="2022-06-05T16:29:56.201" v="2119"/>
          <ac:spMkLst>
            <pc:docMk/>
            <pc:sldMk cId="3574865523" sldId="2147327341"/>
            <ac:spMk id="14" creationId="{23708DF5-F18A-4BAA-B5BA-54191A54EFE3}"/>
          </ac:spMkLst>
        </pc:spChg>
        <pc:spChg chg="mod">
          <ac:chgData name="Haavard Oestensen" userId="e1d95b87-88f0-4af7-a86d-fc8ee67ecb16" providerId="ADAL" clId="{1C37024E-9836-4EFE-98E3-569479564779}" dt="2022-06-05T16:29:56.201" v="2119"/>
          <ac:spMkLst>
            <pc:docMk/>
            <pc:sldMk cId="3574865523" sldId="2147327341"/>
            <ac:spMk id="16" creationId="{220CD1B1-B8A6-40C0-9B62-C9A9FB5A87D7}"/>
          </ac:spMkLst>
        </pc:spChg>
        <pc:spChg chg="mod">
          <ac:chgData name="Haavard Oestensen" userId="e1d95b87-88f0-4af7-a86d-fc8ee67ecb16" providerId="ADAL" clId="{1C37024E-9836-4EFE-98E3-569479564779}" dt="2022-06-05T16:29:56.201" v="2119"/>
          <ac:spMkLst>
            <pc:docMk/>
            <pc:sldMk cId="3574865523" sldId="2147327341"/>
            <ac:spMk id="18" creationId="{CA016997-5D9D-41F1-BCDE-F81F8CE169AB}"/>
          </ac:spMkLst>
        </pc:spChg>
        <pc:spChg chg="mod">
          <ac:chgData name="Haavard Oestensen" userId="e1d95b87-88f0-4af7-a86d-fc8ee67ecb16" providerId="ADAL" clId="{1C37024E-9836-4EFE-98E3-569479564779}" dt="2022-06-05T16:29:56.201" v="2119"/>
          <ac:spMkLst>
            <pc:docMk/>
            <pc:sldMk cId="3574865523" sldId="2147327341"/>
            <ac:spMk id="19" creationId="{BB86032A-BBBD-4B39-A08A-8663824BD4FE}"/>
          </ac:spMkLst>
        </pc:spChg>
        <pc:grpChg chg="add mod">
          <ac:chgData name="Haavard Oestensen" userId="e1d95b87-88f0-4af7-a86d-fc8ee67ecb16" providerId="ADAL" clId="{1C37024E-9836-4EFE-98E3-569479564779}" dt="2022-06-05T16:30:02.363" v="2122" actId="1076"/>
          <ac:grpSpMkLst>
            <pc:docMk/>
            <pc:sldMk cId="3574865523" sldId="2147327341"/>
            <ac:grpSpMk id="6" creationId="{A7AB6F28-867E-4EE7-B763-8B0483908C6F}"/>
          </ac:grpSpMkLst>
        </pc:grpChg>
        <pc:grpChg chg="mod">
          <ac:chgData name="Haavard Oestensen" userId="e1d95b87-88f0-4af7-a86d-fc8ee67ecb16" providerId="ADAL" clId="{1C37024E-9836-4EFE-98E3-569479564779}" dt="2022-06-05T16:29:56.201" v="2119"/>
          <ac:grpSpMkLst>
            <pc:docMk/>
            <pc:sldMk cId="3574865523" sldId="2147327341"/>
            <ac:grpSpMk id="7" creationId="{7DDF4A01-9373-4C76-82BE-5F188B5063D7}"/>
          </ac:grpSpMkLst>
        </pc:grpChg>
        <pc:grpChg chg="mod">
          <ac:chgData name="Haavard Oestensen" userId="e1d95b87-88f0-4af7-a86d-fc8ee67ecb16" providerId="ADAL" clId="{1C37024E-9836-4EFE-98E3-569479564779}" dt="2022-06-05T16:29:56.201" v="2119"/>
          <ac:grpSpMkLst>
            <pc:docMk/>
            <pc:sldMk cId="3574865523" sldId="2147327341"/>
            <ac:grpSpMk id="8" creationId="{610DC5D3-CE6A-44BA-AF10-B335CE98D99A}"/>
          </ac:grpSpMkLst>
        </pc:grpChg>
        <pc:picChg chg="mod">
          <ac:chgData name="Haavard Oestensen" userId="e1d95b87-88f0-4af7-a86d-fc8ee67ecb16" providerId="ADAL" clId="{1C37024E-9836-4EFE-98E3-569479564779}" dt="2022-06-05T16:29:56.201" v="2119"/>
          <ac:picMkLst>
            <pc:docMk/>
            <pc:sldMk cId="3574865523" sldId="2147327341"/>
            <ac:picMk id="9" creationId="{8869E924-DE13-4185-BE12-9EA69F098944}"/>
          </ac:picMkLst>
        </pc:picChg>
        <pc:picChg chg="mod">
          <ac:chgData name="Haavard Oestensen" userId="e1d95b87-88f0-4af7-a86d-fc8ee67ecb16" providerId="ADAL" clId="{1C37024E-9836-4EFE-98E3-569479564779}" dt="2022-06-05T16:29:56.201" v="2119"/>
          <ac:picMkLst>
            <pc:docMk/>
            <pc:sldMk cId="3574865523" sldId="2147327341"/>
            <ac:picMk id="11" creationId="{4948FAAB-3F29-416E-BBD5-5B2BE4437CC6}"/>
          </ac:picMkLst>
        </pc:picChg>
        <pc:picChg chg="mod">
          <ac:chgData name="Haavard Oestensen" userId="e1d95b87-88f0-4af7-a86d-fc8ee67ecb16" providerId="ADAL" clId="{1C37024E-9836-4EFE-98E3-569479564779}" dt="2022-06-05T16:29:56.201" v="2119"/>
          <ac:picMkLst>
            <pc:docMk/>
            <pc:sldMk cId="3574865523" sldId="2147327341"/>
            <ac:picMk id="13" creationId="{7181D1A3-2ACB-44AE-9BD9-88C5827C87CE}"/>
          </ac:picMkLst>
        </pc:picChg>
        <pc:picChg chg="mod">
          <ac:chgData name="Haavard Oestensen" userId="e1d95b87-88f0-4af7-a86d-fc8ee67ecb16" providerId="ADAL" clId="{1C37024E-9836-4EFE-98E3-569479564779}" dt="2022-06-05T16:29:56.201" v="2119"/>
          <ac:picMkLst>
            <pc:docMk/>
            <pc:sldMk cId="3574865523" sldId="2147327341"/>
            <ac:picMk id="15" creationId="{A2580076-A633-4DE3-99D1-504AA0D17229}"/>
          </ac:picMkLst>
        </pc:picChg>
        <pc:picChg chg="mod">
          <ac:chgData name="Haavard Oestensen" userId="e1d95b87-88f0-4af7-a86d-fc8ee67ecb16" providerId="ADAL" clId="{1C37024E-9836-4EFE-98E3-569479564779}" dt="2022-06-05T16:29:56.201" v="2119"/>
          <ac:picMkLst>
            <pc:docMk/>
            <pc:sldMk cId="3574865523" sldId="2147327341"/>
            <ac:picMk id="17" creationId="{E1B4B021-AB96-428E-8532-4E797A976CE7}"/>
          </ac:picMkLst>
        </pc:picChg>
        <pc:cxnChg chg="mod">
          <ac:chgData name="Haavard Oestensen" userId="e1d95b87-88f0-4af7-a86d-fc8ee67ecb16" providerId="ADAL" clId="{1C37024E-9836-4EFE-98E3-569479564779}" dt="2022-06-05T16:29:56.201" v="2119"/>
          <ac:cxnSpMkLst>
            <pc:docMk/>
            <pc:sldMk cId="3574865523" sldId="2147327341"/>
            <ac:cxnSpMk id="20" creationId="{5677952F-00F2-4944-BADE-492BA1DBF6F5}"/>
          </ac:cxnSpMkLst>
        </pc:cxnChg>
      </pc:sldChg>
      <pc:sldChg chg="addSp delSp modSp new mod modTransition">
        <pc:chgData name="Haavard Oestensen" userId="e1d95b87-88f0-4af7-a86d-fc8ee67ecb16" providerId="ADAL" clId="{1C37024E-9836-4EFE-98E3-569479564779}" dt="2022-06-05T16:31:41.170" v="2141" actId="1076"/>
        <pc:sldMkLst>
          <pc:docMk/>
          <pc:sldMk cId="2305956096" sldId="2147327342"/>
        </pc:sldMkLst>
        <pc:spChg chg="mod">
          <ac:chgData name="Haavard Oestensen" userId="e1d95b87-88f0-4af7-a86d-fc8ee67ecb16" providerId="ADAL" clId="{1C37024E-9836-4EFE-98E3-569479564779}" dt="2022-06-05T16:30:07.296" v="2124"/>
          <ac:spMkLst>
            <pc:docMk/>
            <pc:sldMk cId="2305956096" sldId="2147327342"/>
            <ac:spMk id="10" creationId="{1931DE35-C23C-420C-8457-7139AA2D610B}"/>
          </ac:spMkLst>
        </pc:spChg>
        <pc:spChg chg="mod">
          <ac:chgData name="Haavard Oestensen" userId="e1d95b87-88f0-4af7-a86d-fc8ee67ecb16" providerId="ADAL" clId="{1C37024E-9836-4EFE-98E3-569479564779}" dt="2022-06-05T16:30:07.296" v="2124"/>
          <ac:spMkLst>
            <pc:docMk/>
            <pc:sldMk cId="2305956096" sldId="2147327342"/>
            <ac:spMk id="12" creationId="{F04AD169-54EF-4CFC-94E6-69739AC269C9}"/>
          </ac:spMkLst>
        </pc:spChg>
        <pc:spChg chg="mod">
          <ac:chgData name="Haavard Oestensen" userId="e1d95b87-88f0-4af7-a86d-fc8ee67ecb16" providerId="ADAL" clId="{1C37024E-9836-4EFE-98E3-569479564779}" dt="2022-06-05T16:30:07.296" v="2124"/>
          <ac:spMkLst>
            <pc:docMk/>
            <pc:sldMk cId="2305956096" sldId="2147327342"/>
            <ac:spMk id="14" creationId="{F5B84D92-ED61-4BA4-A077-78E6FC33A2DC}"/>
          </ac:spMkLst>
        </pc:spChg>
        <pc:spChg chg="mod">
          <ac:chgData name="Haavard Oestensen" userId="e1d95b87-88f0-4af7-a86d-fc8ee67ecb16" providerId="ADAL" clId="{1C37024E-9836-4EFE-98E3-569479564779}" dt="2022-06-05T16:30:07.296" v="2124"/>
          <ac:spMkLst>
            <pc:docMk/>
            <pc:sldMk cId="2305956096" sldId="2147327342"/>
            <ac:spMk id="16" creationId="{03A90182-DA3C-4038-AC49-670C9DA0F1C9}"/>
          </ac:spMkLst>
        </pc:spChg>
        <pc:spChg chg="mod">
          <ac:chgData name="Haavard Oestensen" userId="e1d95b87-88f0-4af7-a86d-fc8ee67ecb16" providerId="ADAL" clId="{1C37024E-9836-4EFE-98E3-569479564779}" dt="2022-06-05T16:30:07.296" v="2124"/>
          <ac:spMkLst>
            <pc:docMk/>
            <pc:sldMk cId="2305956096" sldId="2147327342"/>
            <ac:spMk id="18" creationId="{C1468EA8-E8A3-483C-AFA5-901B50BC2FF2}"/>
          </ac:spMkLst>
        </pc:spChg>
        <pc:spChg chg="mod">
          <ac:chgData name="Haavard Oestensen" userId="e1d95b87-88f0-4af7-a86d-fc8ee67ecb16" providerId="ADAL" clId="{1C37024E-9836-4EFE-98E3-569479564779}" dt="2022-06-05T16:30:07.296" v="2124"/>
          <ac:spMkLst>
            <pc:docMk/>
            <pc:sldMk cId="2305956096" sldId="2147327342"/>
            <ac:spMk id="19" creationId="{B619FC2E-47BA-4DDA-B2D3-817F5786E955}"/>
          </ac:spMkLst>
        </pc:spChg>
        <pc:spChg chg="mod">
          <ac:chgData name="Haavard Oestensen" userId="e1d95b87-88f0-4af7-a86d-fc8ee67ecb16" providerId="ADAL" clId="{1C37024E-9836-4EFE-98E3-569479564779}" dt="2022-06-05T16:30:20.503" v="2130"/>
          <ac:spMkLst>
            <pc:docMk/>
            <pc:sldMk cId="2305956096" sldId="2147327342"/>
            <ac:spMk id="25" creationId="{292E0918-6504-46AD-B128-B6CDD36C93DD}"/>
          </ac:spMkLst>
        </pc:spChg>
        <pc:spChg chg="mod">
          <ac:chgData name="Haavard Oestensen" userId="e1d95b87-88f0-4af7-a86d-fc8ee67ecb16" providerId="ADAL" clId="{1C37024E-9836-4EFE-98E3-569479564779}" dt="2022-06-05T16:30:20.503" v="2130"/>
          <ac:spMkLst>
            <pc:docMk/>
            <pc:sldMk cId="2305956096" sldId="2147327342"/>
            <ac:spMk id="27" creationId="{69C48EB3-D7DB-47AD-BDC6-A2AA06C415CF}"/>
          </ac:spMkLst>
        </pc:spChg>
        <pc:spChg chg="mod">
          <ac:chgData name="Haavard Oestensen" userId="e1d95b87-88f0-4af7-a86d-fc8ee67ecb16" providerId="ADAL" clId="{1C37024E-9836-4EFE-98E3-569479564779}" dt="2022-06-05T16:30:20.503" v="2130"/>
          <ac:spMkLst>
            <pc:docMk/>
            <pc:sldMk cId="2305956096" sldId="2147327342"/>
            <ac:spMk id="29" creationId="{0301175E-D72A-4295-8DD9-A93281DC3BDC}"/>
          </ac:spMkLst>
        </pc:spChg>
        <pc:spChg chg="mod">
          <ac:chgData name="Haavard Oestensen" userId="e1d95b87-88f0-4af7-a86d-fc8ee67ecb16" providerId="ADAL" clId="{1C37024E-9836-4EFE-98E3-569479564779}" dt="2022-06-05T16:30:20.503" v="2130"/>
          <ac:spMkLst>
            <pc:docMk/>
            <pc:sldMk cId="2305956096" sldId="2147327342"/>
            <ac:spMk id="31" creationId="{06B6DE5C-936C-4C21-9140-F1D71B966EC8}"/>
          </ac:spMkLst>
        </pc:spChg>
        <pc:spChg chg="mod">
          <ac:chgData name="Haavard Oestensen" userId="e1d95b87-88f0-4af7-a86d-fc8ee67ecb16" providerId="ADAL" clId="{1C37024E-9836-4EFE-98E3-569479564779}" dt="2022-06-05T16:30:20.503" v="2130"/>
          <ac:spMkLst>
            <pc:docMk/>
            <pc:sldMk cId="2305956096" sldId="2147327342"/>
            <ac:spMk id="33" creationId="{E29ECD65-4709-4794-BBA8-3312631D26BF}"/>
          </ac:spMkLst>
        </pc:spChg>
        <pc:spChg chg="mod">
          <ac:chgData name="Haavard Oestensen" userId="e1d95b87-88f0-4af7-a86d-fc8ee67ecb16" providerId="ADAL" clId="{1C37024E-9836-4EFE-98E3-569479564779}" dt="2022-06-05T16:30:20.503" v="2130"/>
          <ac:spMkLst>
            <pc:docMk/>
            <pc:sldMk cId="2305956096" sldId="2147327342"/>
            <ac:spMk id="34" creationId="{F2B31F38-7EB6-49F0-9542-9E04BB71E2C2}"/>
          </ac:spMkLst>
        </pc:spChg>
        <pc:grpChg chg="add mod">
          <ac:chgData name="Haavard Oestensen" userId="e1d95b87-88f0-4af7-a86d-fc8ee67ecb16" providerId="ADAL" clId="{1C37024E-9836-4EFE-98E3-569479564779}" dt="2022-06-05T16:31:41.170" v="2141" actId="1076"/>
          <ac:grpSpMkLst>
            <pc:docMk/>
            <pc:sldMk cId="2305956096" sldId="2147327342"/>
            <ac:grpSpMk id="6" creationId="{0B16C528-16D6-4A21-89C1-C4F8BF14134B}"/>
          </ac:grpSpMkLst>
        </pc:grpChg>
        <pc:grpChg chg="mod">
          <ac:chgData name="Haavard Oestensen" userId="e1d95b87-88f0-4af7-a86d-fc8ee67ecb16" providerId="ADAL" clId="{1C37024E-9836-4EFE-98E3-569479564779}" dt="2022-06-05T16:30:07.296" v="2124"/>
          <ac:grpSpMkLst>
            <pc:docMk/>
            <pc:sldMk cId="2305956096" sldId="2147327342"/>
            <ac:grpSpMk id="7" creationId="{16F9A39A-A071-41F2-9F13-EEC4E58B9EA5}"/>
          </ac:grpSpMkLst>
        </pc:grpChg>
        <pc:grpChg chg="mod">
          <ac:chgData name="Haavard Oestensen" userId="e1d95b87-88f0-4af7-a86d-fc8ee67ecb16" providerId="ADAL" clId="{1C37024E-9836-4EFE-98E3-569479564779}" dt="2022-06-05T16:30:07.296" v="2124"/>
          <ac:grpSpMkLst>
            <pc:docMk/>
            <pc:sldMk cId="2305956096" sldId="2147327342"/>
            <ac:grpSpMk id="8" creationId="{0C5DE068-2A85-4327-B360-D77094CB7ED0}"/>
          </ac:grpSpMkLst>
        </pc:grpChg>
        <pc:grpChg chg="add del mod">
          <ac:chgData name="Haavard Oestensen" userId="e1d95b87-88f0-4af7-a86d-fc8ee67ecb16" providerId="ADAL" clId="{1C37024E-9836-4EFE-98E3-569479564779}" dt="2022-06-05T16:30:21.286" v="2131"/>
          <ac:grpSpMkLst>
            <pc:docMk/>
            <pc:sldMk cId="2305956096" sldId="2147327342"/>
            <ac:grpSpMk id="21" creationId="{3E9E2813-DDB6-45B0-BB9D-99E68081B5FF}"/>
          </ac:grpSpMkLst>
        </pc:grpChg>
        <pc:grpChg chg="mod">
          <ac:chgData name="Haavard Oestensen" userId="e1d95b87-88f0-4af7-a86d-fc8ee67ecb16" providerId="ADAL" clId="{1C37024E-9836-4EFE-98E3-569479564779}" dt="2022-06-05T16:30:20.503" v="2130"/>
          <ac:grpSpMkLst>
            <pc:docMk/>
            <pc:sldMk cId="2305956096" sldId="2147327342"/>
            <ac:grpSpMk id="22" creationId="{B75DC893-690A-4965-94F5-051F6A3C214E}"/>
          </ac:grpSpMkLst>
        </pc:grpChg>
        <pc:grpChg chg="mod">
          <ac:chgData name="Haavard Oestensen" userId="e1d95b87-88f0-4af7-a86d-fc8ee67ecb16" providerId="ADAL" clId="{1C37024E-9836-4EFE-98E3-569479564779}" dt="2022-06-05T16:30:20.503" v="2130"/>
          <ac:grpSpMkLst>
            <pc:docMk/>
            <pc:sldMk cId="2305956096" sldId="2147327342"/>
            <ac:grpSpMk id="23" creationId="{23A65A7C-D7CA-4904-983D-9A0BB68F703B}"/>
          </ac:grpSpMkLst>
        </pc:grpChg>
        <pc:picChg chg="mod">
          <ac:chgData name="Haavard Oestensen" userId="e1d95b87-88f0-4af7-a86d-fc8ee67ecb16" providerId="ADAL" clId="{1C37024E-9836-4EFE-98E3-569479564779}" dt="2022-06-05T16:30:07.296" v="2124"/>
          <ac:picMkLst>
            <pc:docMk/>
            <pc:sldMk cId="2305956096" sldId="2147327342"/>
            <ac:picMk id="9" creationId="{008C80FC-E51F-490C-B95B-8B37DFA6875A}"/>
          </ac:picMkLst>
        </pc:picChg>
        <pc:picChg chg="mod">
          <ac:chgData name="Haavard Oestensen" userId="e1d95b87-88f0-4af7-a86d-fc8ee67ecb16" providerId="ADAL" clId="{1C37024E-9836-4EFE-98E3-569479564779}" dt="2022-06-05T16:30:07.296" v="2124"/>
          <ac:picMkLst>
            <pc:docMk/>
            <pc:sldMk cId="2305956096" sldId="2147327342"/>
            <ac:picMk id="11" creationId="{A933BD66-3EE2-4894-8092-185C811F3AE0}"/>
          </ac:picMkLst>
        </pc:picChg>
        <pc:picChg chg="mod">
          <ac:chgData name="Haavard Oestensen" userId="e1d95b87-88f0-4af7-a86d-fc8ee67ecb16" providerId="ADAL" clId="{1C37024E-9836-4EFE-98E3-569479564779}" dt="2022-06-05T16:30:07.296" v="2124"/>
          <ac:picMkLst>
            <pc:docMk/>
            <pc:sldMk cId="2305956096" sldId="2147327342"/>
            <ac:picMk id="13" creationId="{B6F5017D-B7E0-49E0-B8E4-C4E14680B664}"/>
          </ac:picMkLst>
        </pc:picChg>
        <pc:picChg chg="mod">
          <ac:chgData name="Haavard Oestensen" userId="e1d95b87-88f0-4af7-a86d-fc8ee67ecb16" providerId="ADAL" clId="{1C37024E-9836-4EFE-98E3-569479564779}" dt="2022-06-05T16:30:07.296" v="2124"/>
          <ac:picMkLst>
            <pc:docMk/>
            <pc:sldMk cId="2305956096" sldId="2147327342"/>
            <ac:picMk id="15" creationId="{1B40FBE1-53B2-417A-A804-73581F157EC2}"/>
          </ac:picMkLst>
        </pc:picChg>
        <pc:picChg chg="mod">
          <ac:chgData name="Haavard Oestensen" userId="e1d95b87-88f0-4af7-a86d-fc8ee67ecb16" providerId="ADAL" clId="{1C37024E-9836-4EFE-98E3-569479564779}" dt="2022-06-05T16:30:07.296" v="2124"/>
          <ac:picMkLst>
            <pc:docMk/>
            <pc:sldMk cId="2305956096" sldId="2147327342"/>
            <ac:picMk id="17" creationId="{CF267E58-C225-43D1-B34A-3338DB19A43B}"/>
          </ac:picMkLst>
        </pc:picChg>
        <pc:picChg chg="mod">
          <ac:chgData name="Haavard Oestensen" userId="e1d95b87-88f0-4af7-a86d-fc8ee67ecb16" providerId="ADAL" clId="{1C37024E-9836-4EFE-98E3-569479564779}" dt="2022-06-05T16:30:20.503" v="2130"/>
          <ac:picMkLst>
            <pc:docMk/>
            <pc:sldMk cId="2305956096" sldId="2147327342"/>
            <ac:picMk id="24" creationId="{9EEFB60C-4CC6-4EB9-8ABA-5023B19C3F33}"/>
          </ac:picMkLst>
        </pc:picChg>
        <pc:picChg chg="mod">
          <ac:chgData name="Haavard Oestensen" userId="e1d95b87-88f0-4af7-a86d-fc8ee67ecb16" providerId="ADAL" clId="{1C37024E-9836-4EFE-98E3-569479564779}" dt="2022-06-05T16:30:20.503" v="2130"/>
          <ac:picMkLst>
            <pc:docMk/>
            <pc:sldMk cId="2305956096" sldId="2147327342"/>
            <ac:picMk id="26" creationId="{B23B3D7D-595E-401E-A5E6-C05A81D3F85A}"/>
          </ac:picMkLst>
        </pc:picChg>
        <pc:picChg chg="mod">
          <ac:chgData name="Haavard Oestensen" userId="e1d95b87-88f0-4af7-a86d-fc8ee67ecb16" providerId="ADAL" clId="{1C37024E-9836-4EFE-98E3-569479564779}" dt="2022-06-05T16:30:20.503" v="2130"/>
          <ac:picMkLst>
            <pc:docMk/>
            <pc:sldMk cId="2305956096" sldId="2147327342"/>
            <ac:picMk id="28" creationId="{46E2E647-67CC-425E-A1A9-C83991DA0DFF}"/>
          </ac:picMkLst>
        </pc:picChg>
        <pc:picChg chg="mod">
          <ac:chgData name="Haavard Oestensen" userId="e1d95b87-88f0-4af7-a86d-fc8ee67ecb16" providerId="ADAL" clId="{1C37024E-9836-4EFE-98E3-569479564779}" dt="2022-06-05T16:30:20.503" v="2130"/>
          <ac:picMkLst>
            <pc:docMk/>
            <pc:sldMk cId="2305956096" sldId="2147327342"/>
            <ac:picMk id="30" creationId="{24905CA5-139A-430D-9481-1537E015310A}"/>
          </ac:picMkLst>
        </pc:picChg>
        <pc:picChg chg="mod">
          <ac:chgData name="Haavard Oestensen" userId="e1d95b87-88f0-4af7-a86d-fc8ee67ecb16" providerId="ADAL" clId="{1C37024E-9836-4EFE-98E3-569479564779}" dt="2022-06-05T16:30:20.503" v="2130"/>
          <ac:picMkLst>
            <pc:docMk/>
            <pc:sldMk cId="2305956096" sldId="2147327342"/>
            <ac:picMk id="32" creationId="{304FE63E-DD29-4F4F-A960-AD13D96A3AF2}"/>
          </ac:picMkLst>
        </pc:picChg>
        <pc:cxnChg chg="mod">
          <ac:chgData name="Haavard Oestensen" userId="e1d95b87-88f0-4af7-a86d-fc8ee67ecb16" providerId="ADAL" clId="{1C37024E-9836-4EFE-98E3-569479564779}" dt="2022-06-05T16:30:07.296" v="2124"/>
          <ac:cxnSpMkLst>
            <pc:docMk/>
            <pc:sldMk cId="2305956096" sldId="2147327342"/>
            <ac:cxnSpMk id="20" creationId="{0F84CA4B-781B-4770-AD38-91DA95DC4182}"/>
          </ac:cxnSpMkLst>
        </pc:cxnChg>
        <pc:cxnChg chg="mod">
          <ac:chgData name="Haavard Oestensen" userId="e1d95b87-88f0-4af7-a86d-fc8ee67ecb16" providerId="ADAL" clId="{1C37024E-9836-4EFE-98E3-569479564779}" dt="2022-06-05T16:30:20.503" v="2130"/>
          <ac:cxnSpMkLst>
            <pc:docMk/>
            <pc:sldMk cId="2305956096" sldId="2147327342"/>
            <ac:cxnSpMk id="35" creationId="{E387E309-80FC-4F23-9114-F3032CDD75DB}"/>
          </ac:cxnSpMkLst>
        </pc:cxnChg>
      </pc:sldChg>
      <pc:sldChg chg="addSp modSp new mod modTransition">
        <pc:chgData name="Haavard Oestensen" userId="e1d95b87-88f0-4af7-a86d-fc8ee67ecb16" providerId="ADAL" clId="{1C37024E-9836-4EFE-98E3-569479564779}" dt="2022-06-05T16:32:06.487" v="2145" actId="1076"/>
        <pc:sldMkLst>
          <pc:docMk/>
          <pc:sldMk cId="2972072239" sldId="2147327343"/>
        </pc:sldMkLst>
        <pc:spChg chg="mod">
          <ac:chgData name="Haavard Oestensen" userId="e1d95b87-88f0-4af7-a86d-fc8ee67ecb16" providerId="ADAL" clId="{1C37024E-9836-4EFE-98E3-569479564779}" dt="2022-06-05T16:30:22.154" v="2132"/>
          <ac:spMkLst>
            <pc:docMk/>
            <pc:sldMk cId="2972072239" sldId="2147327343"/>
            <ac:spMk id="10" creationId="{3E4D5CAE-F863-4902-AC1C-EDCFEC1E9997}"/>
          </ac:spMkLst>
        </pc:spChg>
        <pc:spChg chg="mod">
          <ac:chgData name="Haavard Oestensen" userId="e1d95b87-88f0-4af7-a86d-fc8ee67ecb16" providerId="ADAL" clId="{1C37024E-9836-4EFE-98E3-569479564779}" dt="2022-06-05T16:30:22.154" v="2132"/>
          <ac:spMkLst>
            <pc:docMk/>
            <pc:sldMk cId="2972072239" sldId="2147327343"/>
            <ac:spMk id="12" creationId="{AC79A3A1-4CEE-4C61-9BF2-37E01E3B910A}"/>
          </ac:spMkLst>
        </pc:spChg>
        <pc:spChg chg="mod">
          <ac:chgData name="Haavard Oestensen" userId="e1d95b87-88f0-4af7-a86d-fc8ee67ecb16" providerId="ADAL" clId="{1C37024E-9836-4EFE-98E3-569479564779}" dt="2022-06-05T16:30:22.154" v="2132"/>
          <ac:spMkLst>
            <pc:docMk/>
            <pc:sldMk cId="2972072239" sldId="2147327343"/>
            <ac:spMk id="14" creationId="{8B949E40-6B5F-4C4A-901D-8004DE19C5D4}"/>
          </ac:spMkLst>
        </pc:spChg>
        <pc:spChg chg="mod">
          <ac:chgData name="Haavard Oestensen" userId="e1d95b87-88f0-4af7-a86d-fc8ee67ecb16" providerId="ADAL" clId="{1C37024E-9836-4EFE-98E3-569479564779}" dt="2022-06-05T16:30:22.154" v="2132"/>
          <ac:spMkLst>
            <pc:docMk/>
            <pc:sldMk cId="2972072239" sldId="2147327343"/>
            <ac:spMk id="16" creationId="{D0C9394A-147B-4E29-9169-5920EFD28734}"/>
          </ac:spMkLst>
        </pc:spChg>
        <pc:spChg chg="mod">
          <ac:chgData name="Haavard Oestensen" userId="e1d95b87-88f0-4af7-a86d-fc8ee67ecb16" providerId="ADAL" clId="{1C37024E-9836-4EFE-98E3-569479564779}" dt="2022-06-05T16:30:22.154" v="2132"/>
          <ac:spMkLst>
            <pc:docMk/>
            <pc:sldMk cId="2972072239" sldId="2147327343"/>
            <ac:spMk id="18" creationId="{DD3580A8-1D97-4641-974B-934B29B931C9}"/>
          </ac:spMkLst>
        </pc:spChg>
        <pc:spChg chg="mod">
          <ac:chgData name="Haavard Oestensen" userId="e1d95b87-88f0-4af7-a86d-fc8ee67ecb16" providerId="ADAL" clId="{1C37024E-9836-4EFE-98E3-569479564779}" dt="2022-06-05T16:30:22.154" v="2132"/>
          <ac:spMkLst>
            <pc:docMk/>
            <pc:sldMk cId="2972072239" sldId="2147327343"/>
            <ac:spMk id="19" creationId="{4B03D001-8393-4458-A8AF-6B84CC5DDA2D}"/>
          </ac:spMkLst>
        </pc:spChg>
        <pc:grpChg chg="add mod">
          <ac:chgData name="Haavard Oestensen" userId="e1d95b87-88f0-4af7-a86d-fc8ee67ecb16" providerId="ADAL" clId="{1C37024E-9836-4EFE-98E3-569479564779}" dt="2022-06-05T16:32:06.487" v="2145" actId="1076"/>
          <ac:grpSpMkLst>
            <pc:docMk/>
            <pc:sldMk cId="2972072239" sldId="2147327343"/>
            <ac:grpSpMk id="6" creationId="{3AEB76C4-C7DA-4278-B49D-D34E9022F158}"/>
          </ac:grpSpMkLst>
        </pc:grpChg>
        <pc:grpChg chg="mod">
          <ac:chgData name="Haavard Oestensen" userId="e1d95b87-88f0-4af7-a86d-fc8ee67ecb16" providerId="ADAL" clId="{1C37024E-9836-4EFE-98E3-569479564779}" dt="2022-06-05T16:30:22.154" v="2132"/>
          <ac:grpSpMkLst>
            <pc:docMk/>
            <pc:sldMk cId="2972072239" sldId="2147327343"/>
            <ac:grpSpMk id="7" creationId="{F92F4DB4-AB77-490D-B2EC-278250C616FC}"/>
          </ac:grpSpMkLst>
        </pc:grpChg>
        <pc:grpChg chg="mod">
          <ac:chgData name="Haavard Oestensen" userId="e1d95b87-88f0-4af7-a86d-fc8ee67ecb16" providerId="ADAL" clId="{1C37024E-9836-4EFE-98E3-569479564779}" dt="2022-06-05T16:30:22.154" v="2132"/>
          <ac:grpSpMkLst>
            <pc:docMk/>
            <pc:sldMk cId="2972072239" sldId="2147327343"/>
            <ac:grpSpMk id="8" creationId="{89F5E3B6-00D2-40BB-9B9D-E8B8FA442CF5}"/>
          </ac:grpSpMkLst>
        </pc:grpChg>
        <pc:picChg chg="mod">
          <ac:chgData name="Haavard Oestensen" userId="e1d95b87-88f0-4af7-a86d-fc8ee67ecb16" providerId="ADAL" clId="{1C37024E-9836-4EFE-98E3-569479564779}" dt="2022-06-05T16:30:22.154" v="2132"/>
          <ac:picMkLst>
            <pc:docMk/>
            <pc:sldMk cId="2972072239" sldId="2147327343"/>
            <ac:picMk id="9" creationId="{60E535A6-4C25-4CD9-AE26-073B2FB45E85}"/>
          </ac:picMkLst>
        </pc:picChg>
        <pc:picChg chg="mod">
          <ac:chgData name="Haavard Oestensen" userId="e1d95b87-88f0-4af7-a86d-fc8ee67ecb16" providerId="ADAL" clId="{1C37024E-9836-4EFE-98E3-569479564779}" dt="2022-06-05T16:30:22.154" v="2132"/>
          <ac:picMkLst>
            <pc:docMk/>
            <pc:sldMk cId="2972072239" sldId="2147327343"/>
            <ac:picMk id="11" creationId="{27032F64-B5C5-4DE2-8BE0-4E5C29EF149F}"/>
          </ac:picMkLst>
        </pc:picChg>
        <pc:picChg chg="mod">
          <ac:chgData name="Haavard Oestensen" userId="e1d95b87-88f0-4af7-a86d-fc8ee67ecb16" providerId="ADAL" clId="{1C37024E-9836-4EFE-98E3-569479564779}" dt="2022-06-05T16:30:22.154" v="2132"/>
          <ac:picMkLst>
            <pc:docMk/>
            <pc:sldMk cId="2972072239" sldId="2147327343"/>
            <ac:picMk id="13" creationId="{E1839B92-150E-48A5-A080-31A728608A2A}"/>
          </ac:picMkLst>
        </pc:picChg>
        <pc:picChg chg="mod">
          <ac:chgData name="Haavard Oestensen" userId="e1d95b87-88f0-4af7-a86d-fc8ee67ecb16" providerId="ADAL" clId="{1C37024E-9836-4EFE-98E3-569479564779}" dt="2022-06-05T16:30:22.154" v="2132"/>
          <ac:picMkLst>
            <pc:docMk/>
            <pc:sldMk cId="2972072239" sldId="2147327343"/>
            <ac:picMk id="15" creationId="{971206BE-FC6F-4A4C-B34F-FE66DC7CF4A4}"/>
          </ac:picMkLst>
        </pc:picChg>
        <pc:picChg chg="mod">
          <ac:chgData name="Haavard Oestensen" userId="e1d95b87-88f0-4af7-a86d-fc8ee67ecb16" providerId="ADAL" clId="{1C37024E-9836-4EFE-98E3-569479564779}" dt="2022-06-05T16:30:22.154" v="2132"/>
          <ac:picMkLst>
            <pc:docMk/>
            <pc:sldMk cId="2972072239" sldId="2147327343"/>
            <ac:picMk id="17" creationId="{F6215908-056D-4CBC-AF81-9A6EFCB06D44}"/>
          </ac:picMkLst>
        </pc:picChg>
        <pc:cxnChg chg="mod">
          <ac:chgData name="Haavard Oestensen" userId="e1d95b87-88f0-4af7-a86d-fc8ee67ecb16" providerId="ADAL" clId="{1C37024E-9836-4EFE-98E3-569479564779}" dt="2022-06-05T16:30:22.154" v="2132"/>
          <ac:cxnSpMkLst>
            <pc:docMk/>
            <pc:sldMk cId="2972072239" sldId="2147327343"/>
            <ac:cxnSpMk id="20" creationId="{13D2756E-7116-45F7-B181-2D3D938973F5}"/>
          </ac:cxnSpMkLst>
        </pc:cxnChg>
      </pc:sldChg>
      <pc:sldChg chg="modSp add mod">
        <pc:chgData name="Haavard Oestensen" userId="e1d95b87-88f0-4af7-a86d-fc8ee67ecb16" providerId="ADAL" clId="{1C37024E-9836-4EFE-98E3-569479564779}" dt="2022-06-06T05:50:56.066" v="2605" actId="20577"/>
        <pc:sldMkLst>
          <pc:docMk/>
          <pc:sldMk cId="605405604" sldId="2147327344"/>
        </pc:sldMkLst>
        <pc:spChg chg="mod">
          <ac:chgData name="Haavard Oestensen" userId="e1d95b87-88f0-4af7-a86d-fc8ee67ecb16" providerId="ADAL" clId="{1C37024E-9836-4EFE-98E3-569479564779}" dt="2022-06-06T05:50:56.066" v="2605" actId="20577"/>
          <ac:spMkLst>
            <pc:docMk/>
            <pc:sldMk cId="605405604" sldId="2147327344"/>
            <ac:spMk id="17" creationId="{21751595-A3B2-4A36-B2AA-ABAADDC521D2}"/>
          </ac:spMkLst>
        </pc:spChg>
      </pc:sldChg>
      <pc:sldChg chg="add">
        <pc:chgData name="Haavard Oestensen" userId="e1d95b87-88f0-4af7-a86d-fc8ee67ecb16" providerId="ADAL" clId="{1C37024E-9836-4EFE-98E3-569479564779}" dt="2022-06-06T03:58:25.865" v="2163"/>
        <pc:sldMkLst>
          <pc:docMk/>
          <pc:sldMk cId="912166271" sldId="2147327345"/>
        </pc:sldMkLst>
      </pc:sldChg>
      <pc:sldChg chg="add">
        <pc:chgData name="Haavard Oestensen" userId="e1d95b87-88f0-4af7-a86d-fc8ee67ecb16" providerId="ADAL" clId="{1C37024E-9836-4EFE-98E3-569479564779}" dt="2022-06-06T04:02:33.916" v="2304"/>
        <pc:sldMkLst>
          <pc:docMk/>
          <pc:sldMk cId="2547046540" sldId="2147327346"/>
        </pc:sldMkLst>
      </pc:sldChg>
      <pc:sldChg chg="add del">
        <pc:chgData name="Haavard Oestensen" userId="e1d95b87-88f0-4af7-a86d-fc8ee67ecb16" providerId="ADAL" clId="{1C37024E-9836-4EFE-98E3-569479564779}" dt="2022-06-06T04:02:26.791" v="2303" actId="2696"/>
        <pc:sldMkLst>
          <pc:docMk/>
          <pc:sldMk cId="4069576117" sldId="2147327346"/>
        </pc:sldMkLst>
      </pc:sldChg>
      <pc:sldChg chg="modSp add mod">
        <pc:chgData name="Haavard Oestensen" userId="e1d95b87-88f0-4af7-a86d-fc8ee67ecb16" providerId="ADAL" clId="{1C37024E-9836-4EFE-98E3-569479564779}" dt="2022-06-06T06:15:26.160" v="2608" actId="207"/>
        <pc:sldMkLst>
          <pc:docMk/>
          <pc:sldMk cId="2540606791" sldId="2147327347"/>
        </pc:sldMkLst>
        <pc:spChg chg="mod">
          <ac:chgData name="Haavard Oestensen" userId="e1d95b87-88f0-4af7-a86d-fc8ee67ecb16" providerId="ADAL" clId="{1C37024E-9836-4EFE-98E3-569479564779}" dt="2022-06-06T06:15:26.160" v="2608" actId="207"/>
          <ac:spMkLst>
            <pc:docMk/>
            <pc:sldMk cId="2540606791" sldId="2147327347"/>
            <ac:spMk id="8" creationId="{C0E3B862-48C6-473C-B44A-6746D318265F}"/>
          </ac:spMkLst>
        </pc:spChg>
      </pc:sldChg>
      <pc:sldMasterChg chg="delSldLayout">
        <pc:chgData name="Haavard Oestensen" userId="e1d95b87-88f0-4af7-a86d-fc8ee67ecb16" providerId="ADAL" clId="{1C37024E-9836-4EFE-98E3-569479564779}" dt="2022-06-06T04:47:45.616" v="2388" actId="47"/>
        <pc:sldMasterMkLst>
          <pc:docMk/>
          <pc:sldMasterMk cId="1251368765" sldId="2147483660"/>
        </pc:sldMasterMkLst>
        <pc:sldLayoutChg chg="del">
          <pc:chgData name="Haavard Oestensen" userId="e1d95b87-88f0-4af7-a86d-fc8ee67ecb16" providerId="ADAL" clId="{1C37024E-9836-4EFE-98E3-569479564779}" dt="2022-06-06T04:47:45.616" v="2388" actId="47"/>
          <pc:sldLayoutMkLst>
            <pc:docMk/>
            <pc:sldMasterMk cId="1251368765" sldId="2147483660"/>
            <pc:sldLayoutMk cId="1354758313" sldId="2147483699"/>
          </pc:sldLayoutMkLst>
        </pc:sldLayoutChg>
      </pc:sldMasterChg>
      <pc:sldMasterChg chg="del delSldLayout">
        <pc:chgData name="Haavard Oestensen" userId="e1d95b87-88f0-4af7-a86d-fc8ee67ecb16" providerId="ADAL" clId="{1C37024E-9836-4EFE-98E3-569479564779}" dt="2022-06-05T15:45:02.209" v="553" actId="47"/>
        <pc:sldMasterMkLst>
          <pc:docMk/>
          <pc:sldMasterMk cId="356299470" sldId="2147483701"/>
        </pc:sldMasterMkLst>
        <pc:sldLayoutChg chg="del">
          <pc:chgData name="Haavard Oestensen" userId="e1d95b87-88f0-4af7-a86d-fc8ee67ecb16" providerId="ADAL" clId="{1C37024E-9836-4EFE-98E3-569479564779}" dt="2022-06-05T15:45:02.209" v="553" actId="47"/>
          <pc:sldLayoutMkLst>
            <pc:docMk/>
            <pc:sldMasterMk cId="356299470" sldId="2147483701"/>
            <pc:sldLayoutMk cId="2913000848" sldId="2147483702"/>
          </pc:sldLayoutMkLst>
        </pc:sldLayoutChg>
        <pc:sldLayoutChg chg="del">
          <pc:chgData name="Haavard Oestensen" userId="e1d95b87-88f0-4af7-a86d-fc8ee67ecb16" providerId="ADAL" clId="{1C37024E-9836-4EFE-98E3-569479564779}" dt="2022-06-05T15:45:02.209" v="553" actId="47"/>
          <pc:sldLayoutMkLst>
            <pc:docMk/>
            <pc:sldMasterMk cId="356299470" sldId="2147483701"/>
            <pc:sldLayoutMk cId="2972829465" sldId="2147483703"/>
          </pc:sldLayoutMkLst>
        </pc:sldLayoutChg>
        <pc:sldLayoutChg chg="del">
          <pc:chgData name="Haavard Oestensen" userId="e1d95b87-88f0-4af7-a86d-fc8ee67ecb16" providerId="ADAL" clId="{1C37024E-9836-4EFE-98E3-569479564779}" dt="2022-06-05T15:45:02.209" v="553" actId="47"/>
          <pc:sldLayoutMkLst>
            <pc:docMk/>
            <pc:sldMasterMk cId="356299470" sldId="2147483701"/>
            <pc:sldLayoutMk cId="89804887" sldId="2147483704"/>
          </pc:sldLayoutMkLst>
        </pc:sldLayoutChg>
        <pc:sldLayoutChg chg="del">
          <pc:chgData name="Haavard Oestensen" userId="e1d95b87-88f0-4af7-a86d-fc8ee67ecb16" providerId="ADAL" clId="{1C37024E-9836-4EFE-98E3-569479564779}" dt="2022-06-05T15:45:02.209" v="553" actId="47"/>
          <pc:sldLayoutMkLst>
            <pc:docMk/>
            <pc:sldMasterMk cId="356299470" sldId="2147483701"/>
            <pc:sldLayoutMk cId="3431920642" sldId="2147483705"/>
          </pc:sldLayoutMkLst>
        </pc:sldLayoutChg>
        <pc:sldLayoutChg chg="del">
          <pc:chgData name="Haavard Oestensen" userId="e1d95b87-88f0-4af7-a86d-fc8ee67ecb16" providerId="ADAL" clId="{1C37024E-9836-4EFE-98E3-569479564779}" dt="2022-06-05T15:45:02.209" v="553" actId="47"/>
          <pc:sldLayoutMkLst>
            <pc:docMk/>
            <pc:sldMasterMk cId="356299470" sldId="2147483701"/>
            <pc:sldLayoutMk cId="4226864303" sldId="2147483706"/>
          </pc:sldLayoutMkLst>
        </pc:sldLayoutChg>
        <pc:sldLayoutChg chg="del">
          <pc:chgData name="Haavard Oestensen" userId="e1d95b87-88f0-4af7-a86d-fc8ee67ecb16" providerId="ADAL" clId="{1C37024E-9836-4EFE-98E3-569479564779}" dt="2022-06-05T15:45:02.209" v="553" actId="47"/>
          <pc:sldLayoutMkLst>
            <pc:docMk/>
            <pc:sldMasterMk cId="356299470" sldId="2147483701"/>
            <pc:sldLayoutMk cId="4279714869" sldId="2147483707"/>
          </pc:sldLayoutMkLst>
        </pc:sldLayoutChg>
        <pc:sldLayoutChg chg="del">
          <pc:chgData name="Haavard Oestensen" userId="e1d95b87-88f0-4af7-a86d-fc8ee67ecb16" providerId="ADAL" clId="{1C37024E-9836-4EFE-98E3-569479564779}" dt="2022-06-05T15:45:02.209" v="553" actId="47"/>
          <pc:sldLayoutMkLst>
            <pc:docMk/>
            <pc:sldMasterMk cId="356299470" sldId="2147483701"/>
            <pc:sldLayoutMk cId="2349603804" sldId="2147483708"/>
          </pc:sldLayoutMkLst>
        </pc:sldLayoutChg>
        <pc:sldLayoutChg chg="del">
          <pc:chgData name="Haavard Oestensen" userId="e1d95b87-88f0-4af7-a86d-fc8ee67ecb16" providerId="ADAL" clId="{1C37024E-9836-4EFE-98E3-569479564779}" dt="2022-06-05T15:45:02.209" v="553" actId="47"/>
          <pc:sldLayoutMkLst>
            <pc:docMk/>
            <pc:sldMasterMk cId="356299470" sldId="2147483701"/>
            <pc:sldLayoutMk cId="3722047354" sldId="2147483709"/>
          </pc:sldLayoutMkLst>
        </pc:sldLayoutChg>
        <pc:sldLayoutChg chg="del">
          <pc:chgData name="Haavard Oestensen" userId="e1d95b87-88f0-4af7-a86d-fc8ee67ecb16" providerId="ADAL" clId="{1C37024E-9836-4EFE-98E3-569479564779}" dt="2022-06-05T15:45:02.209" v="553" actId="47"/>
          <pc:sldLayoutMkLst>
            <pc:docMk/>
            <pc:sldMasterMk cId="356299470" sldId="2147483701"/>
            <pc:sldLayoutMk cId="4033188158" sldId="2147483710"/>
          </pc:sldLayoutMkLst>
        </pc:sldLayoutChg>
        <pc:sldLayoutChg chg="del">
          <pc:chgData name="Haavard Oestensen" userId="e1d95b87-88f0-4af7-a86d-fc8ee67ecb16" providerId="ADAL" clId="{1C37024E-9836-4EFE-98E3-569479564779}" dt="2022-06-05T15:45:02.209" v="553" actId="47"/>
          <pc:sldLayoutMkLst>
            <pc:docMk/>
            <pc:sldMasterMk cId="356299470" sldId="2147483701"/>
            <pc:sldLayoutMk cId="913662551" sldId="2147483711"/>
          </pc:sldLayoutMkLst>
        </pc:sldLayoutChg>
        <pc:sldLayoutChg chg="del">
          <pc:chgData name="Haavard Oestensen" userId="e1d95b87-88f0-4af7-a86d-fc8ee67ecb16" providerId="ADAL" clId="{1C37024E-9836-4EFE-98E3-569479564779}" dt="2022-06-05T15:45:02.209" v="553" actId="47"/>
          <pc:sldLayoutMkLst>
            <pc:docMk/>
            <pc:sldMasterMk cId="356299470" sldId="2147483701"/>
            <pc:sldLayoutMk cId="3365607149" sldId="2147483712"/>
          </pc:sldLayoutMkLst>
        </pc:sldLayoutChg>
        <pc:sldLayoutChg chg="del">
          <pc:chgData name="Haavard Oestensen" userId="e1d95b87-88f0-4af7-a86d-fc8ee67ecb16" providerId="ADAL" clId="{1C37024E-9836-4EFE-98E3-569479564779}" dt="2022-06-05T15:45:02.209" v="553" actId="47"/>
          <pc:sldLayoutMkLst>
            <pc:docMk/>
            <pc:sldMasterMk cId="356299470" sldId="2147483701"/>
            <pc:sldLayoutMk cId="2031315115" sldId="2147483713"/>
          </pc:sldLayoutMkLst>
        </pc:sldLayoutChg>
        <pc:sldLayoutChg chg="del">
          <pc:chgData name="Haavard Oestensen" userId="e1d95b87-88f0-4af7-a86d-fc8ee67ecb16" providerId="ADAL" clId="{1C37024E-9836-4EFE-98E3-569479564779}" dt="2022-06-05T15:45:02.209" v="553" actId="47"/>
          <pc:sldLayoutMkLst>
            <pc:docMk/>
            <pc:sldMasterMk cId="356299470" sldId="2147483701"/>
            <pc:sldLayoutMk cId="859368355" sldId="2147483714"/>
          </pc:sldLayoutMkLst>
        </pc:sldLayoutChg>
        <pc:sldLayoutChg chg="del">
          <pc:chgData name="Haavard Oestensen" userId="e1d95b87-88f0-4af7-a86d-fc8ee67ecb16" providerId="ADAL" clId="{1C37024E-9836-4EFE-98E3-569479564779}" dt="2022-06-05T15:45:02.209" v="553" actId="47"/>
          <pc:sldLayoutMkLst>
            <pc:docMk/>
            <pc:sldMasterMk cId="356299470" sldId="2147483701"/>
            <pc:sldLayoutMk cId="3203869473" sldId="2147483715"/>
          </pc:sldLayoutMkLst>
        </pc:sldLayoutChg>
        <pc:sldLayoutChg chg="del">
          <pc:chgData name="Haavard Oestensen" userId="e1d95b87-88f0-4af7-a86d-fc8ee67ecb16" providerId="ADAL" clId="{1C37024E-9836-4EFE-98E3-569479564779}" dt="2022-06-05T15:45:02.209" v="553" actId="47"/>
          <pc:sldLayoutMkLst>
            <pc:docMk/>
            <pc:sldMasterMk cId="356299470" sldId="2147483701"/>
            <pc:sldLayoutMk cId="1951954431" sldId="2147483716"/>
          </pc:sldLayoutMkLst>
        </pc:sldLayoutChg>
        <pc:sldLayoutChg chg="del">
          <pc:chgData name="Haavard Oestensen" userId="e1d95b87-88f0-4af7-a86d-fc8ee67ecb16" providerId="ADAL" clId="{1C37024E-9836-4EFE-98E3-569479564779}" dt="2022-06-05T15:45:02.209" v="553" actId="47"/>
          <pc:sldLayoutMkLst>
            <pc:docMk/>
            <pc:sldMasterMk cId="356299470" sldId="2147483701"/>
            <pc:sldLayoutMk cId="4198757505" sldId="2147483717"/>
          </pc:sldLayoutMkLst>
        </pc:sldLayoutChg>
        <pc:sldLayoutChg chg="del">
          <pc:chgData name="Haavard Oestensen" userId="e1d95b87-88f0-4af7-a86d-fc8ee67ecb16" providerId="ADAL" clId="{1C37024E-9836-4EFE-98E3-569479564779}" dt="2022-06-05T15:45:02.209" v="553" actId="47"/>
          <pc:sldLayoutMkLst>
            <pc:docMk/>
            <pc:sldMasterMk cId="356299470" sldId="2147483701"/>
            <pc:sldLayoutMk cId="3026351829" sldId="2147483718"/>
          </pc:sldLayoutMkLst>
        </pc:sldLayoutChg>
        <pc:sldLayoutChg chg="del">
          <pc:chgData name="Haavard Oestensen" userId="e1d95b87-88f0-4af7-a86d-fc8ee67ecb16" providerId="ADAL" clId="{1C37024E-9836-4EFE-98E3-569479564779}" dt="2022-06-05T15:45:02.209" v="553" actId="47"/>
          <pc:sldLayoutMkLst>
            <pc:docMk/>
            <pc:sldMasterMk cId="356299470" sldId="2147483701"/>
            <pc:sldLayoutMk cId="2729331623" sldId="2147483719"/>
          </pc:sldLayoutMkLst>
        </pc:sldLayoutChg>
        <pc:sldLayoutChg chg="del">
          <pc:chgData name="Haavard Oestensen" userId="e1d95b87-88f0-4af7-a86d-fc8ee67ecb16" providerId="ADAL" clId="{1C37024E-9836-4EFE-98E3-569479564779}" dt="2022-06-05T15:45:02.209" v="553" actId="47"/>
          <pc:sldLayoutMkLst>
            <pc:docMk/>
            <pc:sldMasterMk cId="356299470" sldId="2147483701"/>
            <pc:sldLayoutMk cId="3379192069" sldId="2147483720"/>
          </pc:sldLayoutMkLst>
        </pc:sldLayoutChg>
        <pc:sldLayoutChg chg="del">
          <pc:chgData name="Haavard Oestensen" userId="e1d95b87-88f0-4af7-a86d-fc8ee67ecb16" providerId="ADAL" clId="{1C37024E-9836-4EFE-98E3-569479564779}" dt="2022-06-05T15:45:02.209" v="553" actId="47"/>
          <pc:sldLayoutMkLst>
            <pc:docMk/>
            <pc:sldMasterMk cId="356299470" sldId="2147483701"/>
            <pc:sldLayoutMk cId="1647544587" sldId="2147483721"/>
          </pc:sldLayoutMkLst>
        </pc:sldLayoutChg>
        <pc:sldLayoutChg chg="del">
          <pc:chgData name="Haavard Oestensen" userId="e1d95b87-88f0-4af7-a86d-fc8ee67ecb16" providerId="ADAL" clId="{1C37024E-9836-4EFE-98E3-569479564779}" dt="2022-06-05T15:45:02.209" v="553" actId="47"/>
          <pc:sldLayoutMkLst>
            <pc:docMk/>
            <pc:sldMasterMk cId="356299470" sldId="2147483701"/>
            <pc:sldLayoutMk cId="1016034794" sldId="2147483722"/>
          </pc:sldLayoutMkLst>
        </pc:sldLayoutChg>
      </pc:sldMasterChg>
    </pc:docChg>
  </pc:docChgLst>
  <pc:docChgLst>
    <pc:chgData name="Haavard Oestensen" userId="e1d95b87-88f0-4af7-a86d-fc8ee67ecb16" providerId="ADAL" clId="{FD77D401-16F4-43A5-8C29-D601F7FDA196}"/>
    <pc:docChg chg="delSld modSld">
      <pc:chgData name="Haavard Oestensen" userId="e1d95b87-88f0-4af7-a86d-fc8ee67ecb16" providerId="ADAL" clId="{FD77D401-16F4-43A5-8C29-D601F7FDA196}" dt="2022-06-06T10:28:42.079" v="121" actId="20577"/>
      <pc:docMkLst>
        <pc:docMk/>
      </pc:docMkLst>
      <pc:sldChg chg="modNotesTx">
        <pc:chgData name="Haavard Oestensen" userId="e1d95b87-88f0-4af7-a86d-fc8ee67ecb16" providerId="ADAL" clId="{FD77D401-16F4-43A5-8C29-D601F7FDA196}" dt="2022-06-06T09:57:13.303" v="74" actId="20577"/>
        <pc:sldMkLst>
          <pc:docMk/>
          <pc:sldMk cId="3077570805" sldId="758"/>
        </pc:sldMkLst>
      </pc:sldChg>
      <pc:sldChg chg="modNotesTx">
        <pc:chgData name="Haavard Oestensen" userId="e1d95b87-88f0-4af7-a86d-fc8ee67ecb16" providerId="ADAL" clId="{FD77D401-16F4-43A5-8C29-D601F7FDA196}" dt="2022-06-06T10:01:22.878" v="116" actId="20577"/>
        <pc:sldMkLst>
          <pc:docMk/>
          <pc:sldMk cId="457294464" sldId="767"/>
        </pc:sldMkLst>
      </pc:sldChg>
      <pc:sldChg chg="modNotesTx">
        <pc:chgData name="Haavard Oestensen" userId="e1d95b87-88f0-4af7-a86d-fc8ee67ecb16" providerId="ADAL" clId="{FD77D401-16F4-43A5-8C29-D601F7FDA196}" dt="2022-06-06T09:53:39.321" v="2"/>
        <pc:sldMkLst>
          <pc:docMk/>
          <pc:sldMk cId="3024680959" sldId="769"/>
        </pc:sldMkLst>
      </pc:sldChg>
      <pc:sldChg chg="modNotesTx">
        <pc:chgData name="Haavard Oestensen" userId="e1d95b87-88f0-4af7-a86d-fc8ee67ecb16" providerId="ADAL" clId="{FD77D401-16F4-43A5-8C29-D601F7FDA196}" dt="2022-06-06T09:55:41.936" v="17"/>
        <pc:sldMkLst>
          <pc:docMk/>
          <pc:sldMk cId="3445649443" sldId="2143187629"/>
        </pc:sldMkLst>
      </pc:sldChg>
      <pc:sldChg chg="modNotesTx">
        <pc:chgData name="Haavard Oestensen" userId="e1d95b87-88f0-4af7-a86d-fc8ee67ecb16" providerId="ADAL" clId="{FD77D401-16F4-43A5-8C29-D601F7FDA196}" dt="2022-06-06T09:56:18.378" v="21" actId="20577"/>
        <pc:sldMkLst>
          <pc:docMk/>
          <pc:sldMk cId="1923147543" sldId="2143187630"/>
        </pc:sldMkLst>
      </pc:sldChg>
      <pc:sldChg chg="modNotesTx">
        <pc:chgData name="Haavard Oestensen" userId="e1d95b87-88f0-4af7-a86d-fc8ee67ecb16" providerId="ADAL" clId="{FD77D401-16F4-43A5-8C29-D601F7FDA196}" dt="2022-06-06T09:56:02.598" v="19"/>
        <pc:sldMkLst>
          <pc:docMk/>
          <pc:sldMk cId="1104444432" sldId="2143187631"/>
        </pc:sldMkLst>
      </pc:sldChg>
      <pc:sldChg chg="modNotesTx">
        <pc:chgData name="Haavard Oestensen" userId="e1d95b87-88f0-4af7-a86d-fc8ee67ecb16" providerId="ADAL" clId="{FD77D401-16F4-43A5-8C29-D601F7FDA196}" dt="2022-06-06T09:52:54.684" v="0"/>
        <pc:sldMkLst>
          <pc:docMk/>
          <pc:sldMk cId="730458978" sldId="2143187633"/>
        </pc:sldMkLst>
      </pc:sldChg>
      <pc:sldChg chg="modNotesTx">
        <pc:chgData name="Haavard Oestensen" userId="e1d95b87-88f0-4af7-a86d-fc8ee67ecb16" providerId="ADAL" clId="{FD77D401-16F4-43A5-8C29-D601F7FDA196}" dt="2022-06-06T09:56:31.243" v="22"/>
        <pc:sldMkLst>
          <pc:docMk/>
          <pc:sldMk cId="2525074752" sldId="2145707500"/>
        </pc:sldMkLst>
      </pc:sldChg>
      <pc:sldChg chg="modNotesTx">
        <pc:chgData name="Haavard Oestensen" userId="e1d95b87-88f0-4af7-a86d-fc8ee67ecb16" providerId="ADAL" clId="{FD77D401-16F4-43A5-8C29-D601F7FDA196}" dt="2022-06-06T09:53:06.522" v="1"/>
        <pc:sldMkLst>
          <pc:docMk/>
          <pc:sldMk cId="3351204741" sldId="2146846967"/>
        </pc:sldMkLst>
      </pc:sldChg>
      <pc:sldChg chg="modNotesTx">
        <pc:chgData name="Haavard Oestensen" userId="e1d95b87-88f0-4af7-a86d-fc8ee67ecb16" providerId="ADAL" clId="{FD77D401-16F4-43A5-8C29-D601F7FDA196}" dt="2022-06-06T09:54:38.434" v="6"/>
        <pc:sldMkLst>
          <pc:docMk/>
          <pc:sldMk cId="3492897153" sldId="2147327333"/>
        </pc:sldMkLst>
      </pc:sldChg>
      <pc:sldChg chg="modNotesTx">
        <pc:chgData name="Haavard Oestensen" userId="e1d95b87-88f0-4af7-a86d-fc8ee67ecb16" providerId="ADAL" clId="{FD77D401-16F4-43A5-8C29-D601F7FDA196}" dt="2022-06-06T09:54:52.993" v="7"/>
        <pc:sldMkLst>
          <pc:docMk/>
          <pc:sldMk cId="1544245084" sldId="2147327334"/>
        </pc:sldMkLst>
      </pc:sldChg>
      <pc:sldChg chg="modNotesTx">
        <pc:chgData name="Haavard Oestensen" userId="e1d95b87-88f0-4af7-a86d-fc8ee67ecb16" providerId="ADAL" clId="{FD77D401-16F4-43A5-8C29-D601F7FDA196}" dt="2022-06-06T10:05:11.706" v="118" actId="20577"/>
        <pc:sldMkLst>
          <pc:docMk/>
          <pc:sldMk cId="164635636" sldId="2147327335"/>
        </pc:sldMkLst>
      </pc:sldChg>
      <pc:sldChg chg="modNotesTx">
        <pc:chgData name="Haavard Oestensen" userId="e1d95b87-88f0-4af7-a86d-fc8ee67ecb16" providerId="ADAL" clId="{FD77D401-16F4-43A5-8C29-D601F7FDA196}" dt="2022-06-06T09:54:59.855" v="9"/>
        <pc:sldMkLst>
          <pc:docMk/>
          <pc:sldMk cId="3680840011" sldId="2147327336"/>
        </pc:sldMkLst>
      </pc:sldChg>
      <pc:sldChg chg="modNotesTx">
        <pc:chgData name="Haavard Oestensen" userId="e1d95b87-88f0-4af7-a86d-fc8ee67ecb16" providerId="ADAL" clId="{FD77D401-16F4-43A5-8C29-D601F7FDA196}" dt="2022-06-06T09:55:02.252" v="10"/>
        <pc:sldMkLst>
          <pc:docMk/>
          <pc:sldMk cId="3808224508" sldId="2147327337"/>
        </pc:sldMkLst>
      </pc:sldChg>
      <pc:sldChg chg="modNotesTx">
        <pc:chgData name="Haavard Oestensen" userId="e1d95b87-88f0-4af7-a86d-fc8ee67ecb16" providerId="ADAL" clId="{FD77D401-16F4-43A5-8C29-D601F7FDA196}" dt="2022-06-06T09:55:29.366" v="16" actId="20577"/>
        <pc:sldMkLst>
          <pc:docMk/>
          <pc:sldMk cId="3339961247" sldId="2147327339"/>
        </pc:sldMkLst>
      </pc:sldChg>
      <pc:sldChg chg="del modNotesTx">
        <pc:chgData name="Haavard Oestensen" userId="e1d95b87-88f0-4af7-a86d-fc8ee67ecb16" providerId="ADAL" clId="{FD77D401-16F4-43A5-8C29-D601F7FDA196}" dt="2022-06-06T10:06:59.289" v="119" actId="47"/>
        <pc:sldMkLst>
          <pc:docMk/>
          <pc:sldMk cId="398139526" sldId="2147327340"/>
        </pc:sldMkLst>
      </pc:sldChg>
      <pc:sldChg chg="modNotesTx">
        <pc:chgData name="Haavard Oestensen" userId="e1d95b87-88f0-4af7-a86d-fc8ee67ecb16" providerId="ADAL" clId="{FD77D401-16F4-43A5-8C29-D601F7FDA196}" dt="2022-06-06T09:55:13.043" v="12"/>
        <pc:sldMkLst>
          <pc:docMk/>
          <pc:sldMk cId="3574865523" sldId="2147327341"/>
        </pc:sldMkLst>
      </pc:sldChg>
      <pc:sldChg chg="modNotesTx">
        <pc:chgData name="Haavard Oestensen" userId="e1d95b87-88f0-4af7-a86d-fc8ee67ecb16" providerId="ADAL" clId="{FD77D401-16F4-43A5-8C29-D601F7FDA196}" dt="2022-06-06T10:07:42.086" v="120" actId="20577"/>
        <pc:sldMkLst>
          <pc:docMk/>
          <pc:sldMk cId="2305956096" sldId="2147327342"/>
        </pc:sldMkLst>
      </pc:sldChg>
      <pc:sldChg chg="modNotesTx">
        <pc:chgData name="Haavard Oestensen" userId="e1d95b87-88f0-4af7-a86d-fc8ee67ecb16" providerId="ADAL" clId="{FD77D401-16F4-43A5-8C29-D601F7FDA196}" dt="2022-06-06T09:55:17.818" v="14"/>
        <pc:sldMkLst>
          <pc:docMk/>
          <pc:sldMk cId="2972072239" sldId="2147327343"/>
        </pc:sldMkLst>
      </pc:sldChg>
      <pc:sldChg chg="modNotesTx">
        <pc:chgData name="Haavard Oestensen" userId="e1d95b87-88f0-4af7-a86d-fc8ee67ecb16" providerId="ADAL" clId="{FD77D401-16F4-43A5-8C29-D601F7FDA196}" dt="2022-06-06T09:54:14.462" v="4"/>
        <pc:sldMkLst>
          <pc:docMk/>
          <pc:sldMk cId="605405604" sldId="2147327344"/>
        </pc:sldMkLst>
      </pc:sldChg>
      <pc:sldChg chg="modNotesTx">
        <pc:chgData name="Haavard Oestensen" userId="e1d95b87-88f0-4af7-a86d-fc8ee67ecb16" providerId="ADAL" clId="{FD77D401-16F4-43A5-8C29-D601F7FDA196}" dt="2022-06-06T09:54:24.223" v="5"/>
        <pc:sldMkLst>
          <pc:docMk/>
          <pc:sldMk cId="912166271" sldId="2147327345"/>
        </pc:sldMkLst>
      </pc:sldChg>
      <pc:sldChg chg="modSp mod modNotesTx">
        <pc:chgData name="Haavard Oestensen" userId="e1d95b87-88f0-4af7-a86d-fc8ee67ecb16" providerId="ADAL" clId="{FD77D401-16F4-43A5-8C29-D601F7FDA196}" dt="2022-06-06T10:28:42.079" v="121" actId="20577"/>
        <pc:sldMkLst>
          <pc:docMk/>
          <pc:sldMk cId="2547046540" sldId="2147327346"/>
        </pc:sldMkLst>
        <pc:spChg chg="mod">
          <ac:chgData name="Haavard Oestensen" userId="e1d95b87-88f0-4af7-a86d-fc8ee67ecb16" providerId="ADAL" clId="{FD77D401-16F4-43A5-8C29-D601F7FDA196}" dt="2022-06-06T10:28:42.079" v="121" actId="20577"/>
          <ac:spMkLst>
            <pc:docMk/>
            <pc:sldMk cId="2547046540" sldId="2147327346"/>
            <ac:spMk id="61" creationId="{908A9DF3-92A2-4BFD-A413-1458A7248FBC}"/>
          </ac:spMkLst>
        </pc:spChg>
      </pc:sldChg>
      <pc:sldChg chg="modNotesTx">
        <pc:chgData name="Haavard Oestensen" userId="e1d95b87-88f0-4af7-a86d-fc8ee67ecb16" providerId="ADAL" clId="{FD77D401-16F4-43A5-8C29-D601F7FDA196}" dt="2022-06-06T09:56:51.347" v="73" actId="20577"/>
        <pc:sldMkLst>
          <pc:docMk/>
          <pc:sldMk cId="2540606791" sldId="2147327347"/>
        </pc:sldMkLst>
      </pc:sldChg>
    </pc:docChg>
  </pc:docChgLst>
  <pc:docChgLst>
    <pc:chgData name="Monique Swanepoel" userId="ee0f72f5-127d-43b4-bee3-54058faa14a3" providerId="ADAL" clId="{0BB70A82-80D9-4EC3-B97F-15C8BD3837A1}"/>
    <pc:docChg chg="undo custSel addSld delSld modSld">
      <pc:chgData name="Monique Swanepoel" userId="ee0f72f5-127d-43b4-bee3-54058faa14a3" providerId="ADAL" clId="{0BB70A82-80D9-4EC3-B97F-15C8BD3837A1}" dt="2022-05-30T16:46:17.499" v="1207" actId="255"/>
      <pc:docMkLst>
        <pc:docMk/>
      </pc:docMkLst>
      <pc:sldChg chg="modSp mod">
        <pc:chgData name="Monique Swanepoel" userId="ee0f72f5-127d-43b4-bee3-54058faa14a3" providerId="ADAL" clId="{0BB70A82-80D9-4EC3-B97F-15C8BD3837A1}" dt="2022-05-30T16:45:06.077" v="1205" actId="1036"/>
        <pc:sldMkLst>
          <pc:docMk/>
          <pc:sldMk cId="2413334785" sldId="756"/>
        </pc:sldMkLst>
        <pc:spChg chg="mod">
          <ac:chgData name="Monique Swanepoel" userId="ee0f72f5-127d-43b4-bee3-54058faa14a3" providerId="ADAL" clId="{0BB70A82-80D9-4EC3-B97F-15C8BD3837A1}" dt="2022-05-30T16:19:21.898" v="793" actId="20577"/>
          <ac:spMkLst>
            <pc:docMk/>
            <pc:sldMk cId="2413334785" sldId="756"/>
            <ac:spMk id="3" creationId="{E9BBAA50-F512-4C9A-8FA7-B84D41653BCE}"/>
          </ac:spMkLst>
        </pc:spChg>
        <pc:spChg chg="mod">
          <ac:chgData name="Monique Swanepoel" userId="ee0f72f5-127d-43b4-bee3-54058faa14a3" providerId="ADAL" clId="{0BB70A82-80D9-4EC3-B97F-15C8BD3837A1}" dt="2022-05-30T16:45:06.077" v="1205" actId="1036"/>
          <ac:spMkLst>
            <pc:docMk/>
            <pc:sldMk cId="2413334785" sldId="756"/>
            <ac:spMk id="34" creationId="{EA390A45-BD2D-4B02-9F24-6990DF0D0260}"/>
          </ac:spMkLst>
        </pc:spChg>
        <pc:spChg chg="mod">
          <ac:chgData name="Monique Swanepoel" userId="ee0f72f5-127d-43b4-bee3-54058faa14a3" providerId="ADAL" clId="{0BB70A82-80D9-4EC3-B97F-15C8BD3837A1}" dt="2022-05-30T16:45:06.077" v="1205" actId="1036"/>
          <ac:spMkLst>
            <pc:docMk/>
            <pc:sldMk cId="2413334785" sldId="756"/>
            <ac:spMk id="35" creationId="{7D0B83DD-B09C-45A1-843A-227E67AAFAC4}"/>
          </ac:spMkLst>
        </pc:spChg>
        <pc:spChg chg="mod">
          <ac:chgData name="Monique Swanepoel" userId="ee0f72f5-127d-43b4-bee3-54058faa14a3" providerId="ADAL" clId="{0BB70A82-80D9-4EC3-B97F-15C8BD3837A1}" dt="2022-05-30T16:45:06.077" v="1205" actId="1036"/>
          <ac:spMkLst>
            <pc:docMk/>
            <pc:sldMk cId="2413334785" sldId="756"/>
            <ac:spMk id="36" creationId="{EF1BCA8B-042F-46CE-95BE-6C45775F9CF0}"/>
          </ac:spMkLst>
        </pc:spChg>
      </pc:sldChg>
      <pc:sldChg chg="modSp mod">
        <pc:chgData name="Monique Swanepoel" userId="ee0f72f5-127d-43b4-bee3-54058faa14a3" providerId="ADAL" clId="{0BB70A82-80D9-4EC3-B97F-15C8BD3837A1}" dt="2022-05-30T14:14:05.117" v="27" actId="2711"/>
        <pc:sldMkLst>
          <pc:docMk/>
          <pc:sldMk cId="4251048958" sldId="757"/>
        </pc:sldMkLst>
        <pc:spChg chg="mod">
          <ac:chgData name="Monique Swanepoel" userId="ee0f72f5-127d-43b4-bee3-54058faa14a3" providerId="ADAL" clId="{0BB70A82-80D9-4EC3-B97F-15C8BD3837A1}" dt="2022-05-30T14:14:05.117" v="27" actId="2711"/>
          <ac:spMkLst>
            <pc:docMk/>
            <pc:sldMk cId="4251048958" sldId="757"/>
            <ac:spMk id="16" creationId="{2324C37B-5E08-47C2-8ECC-962B3E220559}"/>
          </ac:spMkLst>
        </pc:spChg>
      </pc:sldChg>
      <pc:sldChg chg="modSp mod">
        <pc:chgData name="Monique Swanepoel" userId="ee0f72f5-127d-43b4-bee3-54058faa14a3" providerId="ADAL" clId="{0BB70A82-80D9-4EC3-B97F-15C8BD3837A1}" dt="2022-05-30T16:26:53.805" v="975" actId="20577"/>
        <pc:sldMkLst>
          <pc:docMk/>
          <pc:sldMk cId="3672304040" sldId="758"/>
        </pc:sldMkLst>
        <pc:spChg chg="mod">
          <ac:chgData name="Monique Swanepoel" userId="ee0f72f5-127d-43b4-bee3-54058faa14a3" providerId="ADAL" clId="{0BB70A82-80D9-4EC3-B97F-15C8BD3837A1}" dt="2022-05-30T14:14:21.343" v="29" actId="2711"/>
          <ac:spMkLst>
            <pc:docMk/>
            <pc:sldMk cId="3672304040" sldId="758"/>
            <ac:spMk id="3" creationId="{00000000-0000-0000-0000-000000000000}"/>
          </ac:spMkLst>
        </pc:spChg>
        <pc:spChg chg="mod">
          <ac:chgData name="Monique Swanepoel" userId="ee0f72f5-127d-43b4-bee3-54058faa14a3" providerId="ADAL" clId="{0BB70A82-80D9-4EC3-B97F-15C8BD3837A1}" dt="2022-05-30T16:26:53.805" v="975" actId="20577"/>
          <ac:spMkLst>
            <pc:docMk/>
            <pc:sldMk cId="3672304040" sldId="758"/>
            <ac:spMk id="20" creationId="{5099D703-227D-40D3-9B02-264C0B7FFD72}"/>
          </ac:spMkLst>
        </pc:spChg>
      </pc:sldChg>
      <pc:sldChg chg="addSp delSp modSp mod delAnim modAnim">
        <pc:chgData name="Monique Swanepoel" userId="ee0f72f5-127d-43b4-bee3-54058faa14a3" providerId="ADAL" clId="{0BB70A82-80D9-4EC3-B97F-15C8BD3837A1}" dt="2022-05-30T16:22:11.929" v="810"/>
        <pc:sldMkLst>
          <pc:docMk/>
          <pc:sldMk cId="2468698994" sldId="759"/>
        </pc:sldMkLst>
        <pc:spChg chg="mod">
          <ac:chgData name="Monique Swanepoel" userId="ee0f72f5-127d-43b4-bee3-54058faa14a3" providerId="ADAL" clId="{0BB70A82-80D9-4EC3-B97F-15C8BD3837A1}" dt="2022-05-30T14:25:13.141" v="304" actId="20577"/>
          <ac:spMkLst>
            <pc:docMk/>
            <pc:sldMk cId="2468698994" sldId="759"/>
            <ac:spMk id="12" creationId="{381D5D5C-1DEB-47E8-A3F2-A5DD8EB6B83A}"/>
          </ac:spMkLst>
        </pc:spChg>
        <pc:spChg chg="mod">
          <ac:chgData name="Monique Swanepoel" userId="ee0f72f5-127d-43b4-bee3-54058faa14a3" providerId="ADAL" clId="{0BB70A82-80D9-4EC3-B97F-15C8BD3837A1}" dt="2022-05-30T14:20:34.708" v="292" actId="113"/>
          <ac:spMkLst>
            <pc:docMk/>
            <pc:sldMk cId="2468698994" sldId="759"/>
            <ac:spMk id="17" creationId="{71437202-63BB-4864-A22A-AF647E7E3111}"/>
          </ac:spMkLst>
        </pc:spChg>
        <pc:spChg chg="mod">
          <ac:chgData name="Monique Swanepoel" userId="ee0f72f5-127d-43b4-bee3-54058faa14a3" providerId="ADAL" clId="{0BB70A82-80D9-4EC3-B97F-15C8BD3837A1}" dt="2022-05-30T14:20:34.708" v="292" actId="113"/>
          <ac:spMkLst>
            <pc:docMk/>
            <pc:sldMk cId="2468698994" sldId="759"/>
            <ac:spMk id="18" creationId="{6A4C18C6-232D-45DF-BB97-3D91E0736981}"/>
          </ac:spMkLst>
        </pc:spChg>
        <pc:spChg chg="mod">
          <ac:chgData name="Monique Swanepoel" userId="ee0f72f5-127d-43b4-bee3-54058faa14a3" providerId="ADAL" clId="{0BB70A82-80D9-4EC3-B97F-15C8BD3837A1}" dt="2022-05-30T14:20:34.708" v="292" actId="113"/>
          <ac:spMkLst>
            <pc:docMk/>
            <pc:sldMk cId="2468698994" sldId="759"/>
            <ac:spMk id="19" creationId="{1913AAA9-842E-4F94-BFF0-D8064907C95D}"/>
          </ac:spMkLst>
        </pc:spChg>
        <pc:picChg chg="del">
          <ac:chgData name="Monique Swanepoel" userId="ee0f72f5-127d-43b4-bee3-54058faa14a3" providerId="ADAL" clId="{0BB70A82-80D9-4EC3-B97F-15C8BD3837A1}" dt="2022-05-30T16:18:29.459" v="759" actId="478"/>
          <ac:picMkLst>
            <pc:docMk/>
            <pc:sldMk cId="2468698994" sldId="759"/>
            <ac:picMk id="27" creationId="{F66A6676-FFA7-4043-9467-315B7011B0CE}"/>
          </ac:picMkLst>
        </pc:picChg>
        <pc:picChg chg="add del mod">
          <ac:chgData name="Monique Swanepoel" userId="ee0f72f5-127d-43b4-bee3-54058faa14a3" providerId="ADAL" clId="{0BB70A82-80D9-4EC3-B97F-15C8BD3837A1}" dt="2022-05-30T16:11:24.430" v="689" actId="478"/>
          <ac:picMkLst>
            <pc:docMk/>
            <pc:sldMk cId="2468698994" sldId="759"/>
            <ac:picMk id="29" creationId="{0124E59D-B01F-4B17-A528-890557CB6919}"/>
          </ac:picMkLst>
        </pc:picChg>
        <pc:picChg chg="add mod">
          <ac:chgData name="Monique Swanepoel" userId="ee0f72f5-127d-43b4-bee3-54058faa14a3" providerId="ADAL" clId="{0BB70A82-80D9-4EC3-B97F-15C8BD3837A1}" dt="2022-05-30T16:09:43.277" v="663" actId="1076"/>
          <ac:picMkLst>
            <pc:docMk/>
            <pc:sldMk cId="2468698994" sldId="759"/>
            <ac:picMk id="35" creationId="{FAF00FFA-0BDF-4AC4-AC44-697241AFE69A}"/>
          </ac:picMkLst>
        </pc:picChg>
        <pc:picChg chg="add mod">
          <ac:chgData name="Monique Swanepoel" userId="ee0f72f5-127d-43b4-bee3-54058faa14a3" providerId="ADAL" clId="{0BB70A82-80D9-4EC3-B97F-15C8BD3837A1}" dt="2022-05-30T16:09:50.311" v="667" actId="1076"/>
          <ac:picMkLst>
            <pc:docMk/>
            <pc:sldMk cId="2468698994" sldId="759"/>
            <ac:picMk id="36" creationId="{E57DBA81-E8B6-4BFC-8249-200BF5E066A5}"/>
          </ac:picMkLst>
        </pc:picChg>
        <pc:picChg chg="add mod">
          <ac:chgData name="Monique Swanepoel" userId="ee0f72f5-127d-43b4-bee3-54058faa14a3" providerId="ADAL" clId="{0BB70A82-80D9-4EC3-B97F-15C8BD3837A1}" dt="2022-05-30T16:09:46.427" v="665" actId="1076"/>
          <ac:picMkLst>
            <pc:docMk/>
            <pc:sldMk cId="2468698994" sldId="759"/>
            <ac:picMk id="37" creationId="{9BBBE80A-F72B-478C-958D-7DF407501C43}"/>
          </ac:picMkLst>
        </pc:picChg>
        <pc:picChg chg="add mod">
          <ac:chgData name="Monique Swanepoel" userId="ee0f72f5-127d-43b4-bee3-54058faa14a3" providerId="ADAL" clId="{0BB70A82-80D9-4EC3-B97F-15C8BD3837A1}" dt="2022-05-30T16:09:39.159" v="661" actId="1076"/>
          <ac:picMkLst>
            <pc:docMk/>
            <pc:sldMk cId="2468698994" sldId="759"/>
            <ac:picMk id="38" creationId="{8BAE4755-A496-49A6-9ECA-F03D12F0DAB6}"/>
          </ac:picMkLst>
        </pc:picChg>
        <pc:picChg chg="add del mod">
          <ac:chgData name="Monique Swanepoel" userId="ee0f72f5-127d-43b4-bee3-54058faa14a3" providerId="ADAL" clId="{0BB70A82-80D9-4EC3-B97F-15C8BD3837A1}" dt="2022-05-30T16:11:23.629" v="688" actId="478"/>
          <ac:picMkLst>
            <pc:docMk/>
            <pc:sldMk cId="2468698994" sldId="759"/>
            <ac:picMk id="39" creationId="{634307F6-A277-4293-A1BB-E96747F5B606}"/>
          </ac:picMkLst>
        </pc:picChg>
        <pc:picChg chg="add mod">
          <ac:chgData name="Monique Swanepoel" userId="ee0f72f5-127d-43b4-bee3-54058faa14a3" providerId="ADAL" clId="{0BB70A82-80D9-4EC3-B97F-15C8BD3837A1}" dt="2022-05-30T16:11:26.830" v="690" actId="1076"/>
          <ac:picMkLst>
            <pc:docMk/>
            <pc:sldMk cId="2468698994" sldId="759"/>
            <ac:picMk id="40" creationId="{0F2E23D4-4E07-47D1-A98E-781D8703337B}"/>
          </ac:picMkLst>
        </pc:picChg>
        <pc:picChg chg="add mod">
          <ac:chgData name="Monique Swanepoel" userId="ee0f72f5-127d-43b4-bee3-54058faa14a3" providerId="ADAL" clId="{0BB70A82-80D9-4EC3-B97F-15C8BD3837A1}" dt="2022-05-30T16:11:22.771" v="687" actId="1076"/>
          <ac:picMkLst>
            <pc:docMk/>
            <pc:sldMk cId="2468698994" sldId="759"/>
            <ac:picMk id="41" creationId="{C4CDF6BC-47CD-4EDF-965B-A76F87E63F45}"/>
          </ac:picMkLst>
        </pc:picChg>
        <pc:picChg chg="add mod">
          <ac:chgData name="Monique Swanepoel" userId="ee0f72f5-127d-43b4-bee3-54058faa14a3" providerId="ADAL" clId="{0BB70A82-80D9-4EC3-B97F-15C8BD3837A1}" dt="2022-05-30T16:11:17.579" v="685" actId="1076"/>
          <ac:picMkLst>
            <pc:docMk/>
            <pc:sldMk cId="2468698994" sldId="759"/>
            <ac:picMk id="42" creationId="{AF297258-A156-4908-8F12-C6B7E4FB871D}"/>
          </ac:picMkLst>
        </pc:picChg>
        <pc:picChg chg="add mod">
          <ac:chgData name="Monique Swanepoel" userId="ee0f72f5-127d-43b4-bee3-54058faa14a3" providerId="ADAL" clId="{0BB70A82-80D9-4EC3-B97F-15C8BD3837A1}" dt="2022-05-30T16:18:22.394" v="754" actId="1076"/>
          <ac:picMkLst>
            <pc:docMk/>
            <pc:sldMk cId="2468698994" sldId="759"/>
            <ac:picMk id="43" creationId="{ACFC66DC-B06C-4800-AAE9-8475E3EE64AC}"/>
          </ac:picMkLst>
        </pc:picChg>
        <pc:picChg chg="add mod">
          <ac:chgData name="Monique Swanepoel" userId="ee0f72f5-127d-43b4-bee3-54058faa14a3" providerId="ADAL" clId="{0BB70A82-80D9-4EC3-B97F-15C8BD3837A1}" dt="2022-05-30T16:18:25.637" v="756" actId="1076"/>
          <ac:picMkLst>
            <pc:docMk/>
            <pc:sldMk cId="2468698994" sldId="759"/>
            <ac:picMk id="44" creationId="{C0B53218-8701-419A-BA44-72F40012AF7C}"/>
          </ac:picMkLst>
        </pc:picChg>
        <pc:picChg chg="add mod">
          <ac:chgData name="Monique Swanepoel" userId="ee0f72f5-127d-43b4-bee3-54058faa14a3" providerId="ADAL" clId="{0BB70A82-80D9-4EC3-B97F-15C8BD3837A1}" dt="2022-05-30T16:18:28.364" v="758" actId="1076"/>
          <ac:picMkLst>
            <pc:docMk/>
            <pc:sldMk cId="2468698994" sldId="759"/>
            <ac:picMk id="45" creationId="{99F885A0-7C67-4FE1-892A-2EB407AF791D}"/>
          </ac:picMkLst>
        </pc:picChg>
        <pc:picChg chg="add mod">
          <ac:chgData name="Monique Swanepoel" userId="ee0f72f5-127d-43b4-bee3-54058faa14a3" providerId="ADAL" clId="{0BB70A82-80D9-4EC3-B97F-15C8BD3837A1}" dt="2022-05-30T16:18:32.574" v="760" actId="1076"/>
          <ac:picMkLst>
            <pc:docMk/>
            <pc:sldMk cId="2468698994" sldId="759"/>
            <ac:picMk id="46" creationId="{88F216F4-E70E-4152-A567-F66B8A3F592C}"/>
          </ac:picMkLst>
        </pc:picChg>
        <pc:picChg chg="del">
          <ac:chgData name="Monique Swanepoel" userId="ee0f72f5-127d-43b4-bee3-54058faa14a3" providerId="ADAL" clId="{0BB70A82-80D9-4EC3-B97F-15C8BD3837A1}" dt="2022-05-30T16:09:37.126" v="660" actId="478"/>
          <ac:picMkLst>
            <pc:docMk/>
            <pc:sldMk cId="2468698994" sldId="759"/>
            <ac:picMk id="3076" creationId="{E7F59DE9-972F-4535-886F-91EED2D21518}"/>
          </ac:picMkLst>
        </pc:picChg>
        <pc:picChg chg="del">
          <ac:chgData name="Monique Swanepoel" userId="ee0f72f5-127d-43b4-bee3-54058faa14a3" providerId="ADAL" clId="{0BB70A82-80D9-4EC3-B97F-15C8BD3837A1}" dt="2022-05-30T16:09:44.299" v="664" actId="478"/>
          <ac:picMkLst>
            <pc:docMk/>
            <pc:sldMk cId="2468698994" sldId="759"/>
            <ac:picMk id="3078" creationId="{8B4F4FC6-A237-4DE3-950B-9C16EDD6E096}"/>
          </ac:picMkLst>
        </pc:picChg>
        <pc:picChg chg="del">
          <ac:chgData name="Monique Swanepoel" userId="ee0f72f5-127d-43b4-bee3-54058faa14a3" providerId="ADAL" clId="{0BB70A82-80D9-4EC3-B97F-15C8BD3837A1}" dt="2022-05-30T16:09:48.423" v="666" actId="478"/>
          <ac:picMkLst>
            <pc:docMk/>
            <pc:sldMk cId="2468698994" sldId="759"/>
            <ac:picMk id="3080" creationId="{F90836E3-04E3-4E7D-9C5E-BA9B7402D1D2}"/>
          </ac:picMkLst>
        </pc:picChg>
        <pc:picChg chg="del">
          <ac:chgData name="Monique Swanepoel" userId="ee0f72f5-127d-43b4-bee3-54058faa14a3" providerId="ADAL" clId="{0BB70A82-80D9-4EC3-B97F-15C8BD3837A1}" dt="2022-05-30T16:09:40.367" v="662" actId="478"/>
          <ac:picMkLst>
            <pc:docMk/>
            <pc:sldMk cId="2468698994" sldId="759"/>
            <ac:picMk id="3082" creationId="{42C4AEA5-6256-4983-B689-46372F51BAA0}"/>
          </ac:picMkLst>
        </pc:picChg>
        <pc:picChg chg="del">
          <ac:chgData name="Monique Swanepoel" userId="ee0f72f5-127d-43b4-bee3-54058faa14a3" providerId="ADAL" clId="{0BB70A82-80D9-4EC3-B97F-15C8BD3837A1}" dt="2022-05-30T16:11:15.462" v="684" actId="478"/>
          <ac:picMkLst>
            <pc:docMk/>
            <pc:sldMk cId="2468698994" sldId="759"/>
            <ac:picMk id="3084" creationId="{9B110E3D-DBD9-40EC-BE76-38A5C822ADEC}"/>
          </ac:picMkLst>
        </pc:picChg>
        <pc:picChg chg="del">
          <ac:chgData name="Monique Swanepoel" userId="ee0f72f5-127d-43b4-bee3-54058faa14a3" providerId="ADAL" clId="{0BB70A82-80D9-4EC3-B97F-15C8BD3837A1}" dt="2022-05-30T16:11:20.043" v="686" actId="478"/>
          <ac:picMkLst>
            <pc:docMk/>
            <pc:sldMk cId="2468698994" sldId="759"/>
            <ac:picMk id="3086" creationId="{83AF1B4E-5564-44F1-9631-86DF0FA0F163}"/>
          </ac:picMkLst>
        </pc:picChg>
        <pc:picChg chg="del">
          <ac:chgData name="Monique Swanepoel" userId="ee0f72f5-127d-43b4-bee3-54058faa14a3" providerId="ADAL" clId="{0BB70A82-80D9-4EC3-B97F-15C8BD3837A1}" dt="2022-05-30T16:18:23.619" v="755" actId="478"/>
          <ac:picMkLst>
            <pc:docMk/>
            <pc:sldMk cId="2468698994" sldId="759"/>
            <ac:picMk id="3090" creationId="{A5969487-9F8F-4078-B18E-78EC7359938E}"/>
          </ac:picMkLst>
        </pc:picChg>
        <pc:picChg chg="del">
          <ac:chgData name="Monique Swanepoel" userId="ee0f72f5-127d-43b4-bee3-54058faa14a3" providerId="ADAL" clId="{0BB70A82-80D9-4EC3-B97F-15C8BD3837A1}" dt="2022-05-30T16:18:26.368" v="757" actId="478"/>
          <ac:picMkLst>
            <pc:docMk/>
            <pc:sldMk cId="2468698994" sldId="759"/>
            <ac:picMk id="3092" creationId="{76030154-9722-44F4-94AE-F63B8483C442}"/>
          </ac:picMkLst>
        </pc:picChg>
        <pc:picChg chg="del">
          <ac:chgData name="Monique Swanepoel" userId="ee0f72f5-127d-43b4-bee3-54058faa14a3" providerId="ADAL" clId="{0BB70A82-80D9-4EC3-B97F-15C8BD3837A1}" dt="2022-05-30T16:18:19.595" v="753" actId="478"/>
          <ac:picMkLst>
            <pc:docMk/>
            <pc:sldMk cId="2468698994" sldId="759"/>
            <ac:picMk id="3094" creationId="{AEB36BB2-6D60-45E6-9B46-9A61A8BBFFF6}"/>
          </ac:picMkLst>
        </pc:picChg>
        <pc:picChg chg="del">
          <ac:chgData name="Monique Swanepoel" userId="ee0f72f5-127d-43b4-bee3-54058faa14a3" providerId="ADAL" clId="{0BB70A82-80D9-4EC3-B97F-15C8BD3837A1}" dt="2022-05-30T13:47:20.286" v="23" actId="478"/>
          <ac:picMkLst>
            <pc:docMk/>
            <pc:sldMk cId="2468698994" sldId="759"/>
            <ac:picMk id="3096" creationId="{A38FA228-FA36-4F32-980A-174A2E35FF51}"/>
          </ac:picMkLst>
        </pc:picChg>
        <pc:picChg chg="add del mod">
          <ac:chgData name="Monique Swanepoel" userId="ee0f72f5-127d-43b4-bee3-54058faa14a3" providerId="ADAL" clId="{0BB70A82-80D9-4EC3-B97F-15C8BD3837A1}" dt="2022-05-30T14:34:27.322" v="350" actId="478"/>
          <ac:picMkLst>
            <pc:docMk/>
            <pc:sldMk cId="2468698994" sldId="759"/>
            <ac:picMk id="3098" creationId="{9042AFEA-CC1D-4F11-BA2A-C1FA3470E357}"/>
          </ac:picMkLst>
        </pc:picChg>
        <pc:picChg chg="add del mod">
          <ac:chgData name="Monique Swanepoel" userId="ee0f72f5-127d-43b4-bee3-54058faa14a3" providerId="ADAL" clId="{0BB70A82-80D9-4EC3-B97F-15C8BD3837A1}" dt="2022-05-30T14:35:44.283" v="356" actId="478"/>
          <ac:picMkLst>
            <pc:docMk/>
            <pc:sldMk cId="2468698994" sldId="759"/>
            <ac:picMk id="3100" creationId="{FE980309-3615-4BE4-8BD8-98C3F22C2687}"/>
          </ac:picMkLst>
        </pc:picChg>
        <pc:picChg chg="add del mod">
          <ac:chgData name="Monique Swanepoel" userId="ee0f72f5-127d-43b4-bee3-54058faa14a3" providerId="ADAL" clId="{0BB70A82-80D9-4EC3-B97F-15C8BD3837A1}" dt="2022-05-30T14:36:03.086" v="359" actId="478"/>
          <ac:picMkLst>
            <pc:docMk/>
            <pc:sldMk cId="2468698994" sldId="759"/>
            <ac:picMk id="3102" creationId="{A4F96676-77FC-4FE8-9BB1-9782E5070433}"/>
          </ac:picMkLst>
        </pc:picChg>
        <pc:picChg chg="add del mod">
          <ac:chgData name="Monique Swanepoel" userId="ee0f72f5-127d-43b4-bee3-54058faa14a3" providerId="ADAL" clId="{0BB70A82-80D9-4EC3-B97F-15C8BD3837A1}" dt="2022-05-30T14:36:19.397" v="364" actId="478"/>
          <ac:picMkLst>
            <pc:docMk/>
            <pc:sldMk cId="2468698994" sldId="759"/>
            <ac:picMk id="3104" creationId="{E58298B0-7862-4D1E-BCDC-B032235FA989}"/>
          </ac:picMkLst>
        </pc:picChg>
        <pc:picChg chg="add del mod">
          <ac:chgData name="Monique Swanepoel" userId="ee0f72f5-127d-43b4-bee3-54058faa14a3" providerId="ADAL" clId="{0BB70A82-80D9-4EC3-B97F-15C8BD3837A1}" dt="2022-05-30T14:37:14.132" v="371" actId="478"/>
          <ac:picMkLst>
            <pc:docMk/>
            <pc:sldMk cId="2468698994" sldId="759"/>
            <ac:picMk id="3106" creationId="{D10F47C8-66F7-4C54-AA03-B90141725D2A}"/>
          </ac:picMkLst>
        </pc:picChg>
      </pc:sldChg>
      <pc:sldChg chg="addSp delSp modSp mod modNotesTx">
        <pc:chgData name="Monique Swanepoel" userId="ee0f72f5-127d-43b4-bee3-54058faa14a3" providerId="ADAL" clId="{0BB70A82-80D9-4EC3-B97F-15C8BD3837A1}" dt="2022-05-30T16:26:02.533" v="971"/>
        <pc:sldMkLst>
          <pc:docMk/>
          <pc:sldMk cId="1161817238" sldId="760"/>
        </pc:sldMkLst>
        <pc:spChg chg="mod">
          <ac:chgData name="Monique Swanepoel" userId="ee0f72f5-127d-43b4-bee3-54058faa14a3" providerId="ADAL" clId="{0BB70A82-80D9-4EC3-B97F-15C8BD3837A1}" dt="2022-05-30T14:26:32.982" v="305" actId="947"/>
          <ac:spMkLst>
            <pc:docMk/>
            <pc:sldMk cId="1161817238" sldId="760"/>
            <ac:spMk id="12" creationId="{381D5D5C-1DEB-47E8-A3F2-A5DD8EB6B83A}"/>
          </ac:spMkLst>
        </pc:spChg>
        <pc:spChg chg="mod">
          <ac:chgData name="Monique Swanepoel" userId="ee0f72f5-127d-43b4-bee3-54058faa14a3" providerId="ADAL" clId="{0BB70A82-80D9-4EC3-B97F-15C8BD3837A1}" dt="2022-05-30T16:19:05.711" v="782" actId="1037"/>
          <ac:spMkLst>
            <pc:docMk/>
            <pc:sldMk cId="1161817238" sldId="760"/>
            <ac:spMk id="20" creationId="{ADB10F6B-0A4F-4CD6-9750-354ADBA58FE1}"/>
          </ac:spMkLst>
        </pc:spChg>
        <pc:spChg chg="mod">
          <ac:chgData name="Monique Swanepoel" userId="ee0f72f5-127d-43b4-bee3-54058faa14a3" providerId="ADAL" clId="{0BB70A82-80D9-4EC3-B97F-15C8BD3837A1}" dt="2022-05-30T16:19:07.819" v="784" actId="1037"/>
          <ac:spMkLst>
            <pc:docMk/>
            <pc:sldMk cId="1161817238" sldId="760"/>
            <ac:spMk id="21" creationId="{0E5B2240-18F8-4312-A3D7-331DCEEB0DED}"/>
          </ac:spMkLst>
        </pc:spChg>
        <pc:spChg chg="mod">
          <ac:chgData name="Monique Swanepoel" userId="ee0f72f5-127d-43b4-bee3-54058faa14a3" providerId="ADAL" clId="{0BB70A82-80D9-4EC3-B97F-15C8BD3837A1}" dt="2022-05-30T16:19:09.663" v="787" actId="1037"/>
          <ac:spMkLst>
            <pc:docMk/>
            <pc:sldMk cId="1161817238" sldId="760"/>
            <ac:spMk id="22" creationId="{7698E496-2015-41E9-B068-E12B23993748}"/>
          </ac:spMkLst>
        </pc:spChg>
        <pc:spChg chg="mod">
          <ac:chgData name="Monique Swanepoel" userId="ee0f72f5-127d-43b4-bee3-54058faa14a3" providerId="ADAL" clId="{0BB70A82-80D9-4EC3-B97F-15C8BD3837A1}" dt="2022-05-30T14:15:52.858" v="163" actId="2711"/>
          <ac:spMkLst>
            <pc:docMk/>
            <pc:sldMk cId="1161817238" sldId="760"/>
            <ac:spMk id="23" creationId="{AF671DB3-0CDC-4890-9513-BABAF9AC66BE}"/>
          </ac:spMkLst>
        </pc:spChg>
        <pc:picChg chg="add del mod">
          <ac:chgData name="Monique Swanepoel" userId="ee0f72f5-127d-43b4-bee3-54058faa14a3" providerId="ADAL" clId="{0BB70A82-80D9-4EC3-B97F-15C8BD3837A1}" dt="2022-05-30T14:52:43.330" v="625" actId="478"/>
          <ac:picMkLst>
            <pc:docMk/>
            <pc:sldMk cId="1161817238" sldId="760"/>
            <ac:picMk id="3" creationId="{B38049A2-5027-44D7-9961-2D8BE4D21029}"/>
          </ac:picMkLst>
        </pc:picChg>
        <pc:picChg chg="add del mod">
          <ac:chgData name="Monique Swanepoel" userId="ee0f72f5-127d-43b4-bee3-54058faa14a3" providerId="ADAL" clId="{0BB70A82-80D9-4EC3-B97F-15C8BD3837A1}" dt="2022-05-30T14:53:48.817" v="638" actId="478"/>
          <ac:picMkLst>
            <pc:docMk/>
            <pc:sldMk cId="1161817238" sldId="760"/>
            <ac:picMk id="6" creationId="{8901C645-7C55-4FE3-BCBD-5CCBDFBFEB65}"/>
          </ac:picMkLst>
        </pc:picChg>
        <pc:picChg chg="add mod">
          <ac:chgData name="Monique Swanepoel" userId="ee0f72f5-127d-43b4-bee3-54058faa14a3" providerId="ADAL" clId="{0BB70A82-80D9-4EC3-B97F-15C8BD3837A1}" dt="2022-05-30T14:53:54.244" v="639" actId="1076"/>
          <ac:picMkLst>
            <pc:docMk/>
            <pc:sldMk cId="1161817238" sldId="760"/>
            <ac:picMk id="36" creationId="{AC7B118D-4FA8-4C8F-BAAA-9C1EED4890CE}"/>
          </ac:picMkLst>
        </pc:picChg>
        <pc:picChg chg="add mod">
          <ac:chgData name="Monique Swanepoel" userId="ee0f72f5-127d-43b4-bee3-54058faa14a3" providerId="ADAL" clId="{0BB70A82-80D9-4EC3-B97F-15C8BD3837A1}" dt="2022-05-30T14:54:48.344" v="646" actId="1076"/>
          <ac:picMkLst>
            <pc:docMk/>
            <pc:sldMk cId="1161817238" sldId="760"/>
            <ac:picMk id="37" creationId="{DC90A549-9170-4E2B-89EE-C89A7AD32479}"/>
          </ac:picMkLst>
        </pc:picChg>
        <pc:picChg chg="add mod">
          <ac:chgData name="Monique Swanepoel" userId="ee0f72f5-127d-43b4-bee3-54058faa14a3" providerId="ADAL" clId="{0BB70A82-80D9-4EC3-B97F-15C8BD3837A1}" dt="2022-05-30T16:08:59.116" v="655" actId="14861"/>
          <ac:picMkLst>
            <pc:docMk/>
            <pc:sldMk cId="1161817238" sldId="760"/>
            <ac:picMk id="38" creationId="{6CDB27A1-08EC-499A-9E82-C5A181259F50}"/>
          </ac:picMkLst>
        </pc:picChg>
        <pc:picChg chg="add mod">
          <ac:chgData name="Monique Swanepoel" userId="ee0f72f5-127d-43b4-bee3-54058faa14a3" providerId="ADAL" clId="{0BB70A82-80D9-4EC3-B97F-15C8BD3837A1}" dt="2022-05-30T16:08:59.116" v="655" actId="14861"/>
          <ac:picMkLst>
            <pc:docMk/>
            <pc:sldMk cId="1161817238" sldId="760"/>
            <ac:picMk id="39" creationId="{84106E31-5E88-44C0-92F0-C24F3BDE0B75}"/>
          </ac:picMkLst>
        </pc:picChg>
        <pc:picChg chg="del mod">
          <ac:chgData name="Monique Swanepoel" userId="ee0f72f5-127d-43b4-bee3-54058faa14a3" providerId="ADAL" clId="{0BB70A82-80D9-4EC3-B97F-15C8BD3837A1}" dt="2022-05-30T16:08:44.935" v="652" actId="478"/>
          <ac:picMkLst>
            <pc:docMk/>
            <pc:sldMk cId="1161817238" sldId="760"/>
            <ac:picMk id="3076" creationId="{E7F59DE9-972F-4535-886F-91EED2D21518}"/>
          </ac:picMkLst>
        </pc:picChg>
        <pc:picChg chg="del">
          <ac:chgData name="Monique Swanepoel" userId="ee0f72f5-127d-43b4-bee3-54058faa14a3" providerId="ADAL" clId="{0BB70A82-80D9-4EC3-B97F-15C8BD3837A1}" dt="2022-05-30T13:45:23.505" v="6" actId="478"/>
          <ac:picMkLst>
            <pc:docMk/>
            <pc:sldMk cId="1161817238" sldId="760"/>
            <ac:picMk id="3078" creationId="{8B4F4FC6-A237-4DE3-950B-9C16EDD6E096}"/>
          </ac:picMkLst>
        </pc:picChg>
        <pc:picChg chg="del">
          <ac:chgData name="Monique Swanepoel" userId="ee0f72f5-127d-43b4-bee3-54058faa14a3" providerId="ADAL" clId="{0BB70A82-80D9-4EC3-B97F-15C8BD3837A1}" dt="2022-05-30T14:54:33.367" v="645" actId="478"/>
          <ac:picMkLst>
            <pc:docMk/>
            <pc:sldMk cId="1161817238" sldId="760"/>
            <ac:picMk id="3080" creationId="{F90836E3-04E3-4E7D-9C5E-BA9B7402D1D2}"/>
          </ac:picMkLst>
        </pc:picChg>
        <pc:picChg chg="del mod">
          <ac:chgData name="Monique Swanepoel" userId="ee0f72f5-127d-43b4-bee3-54058faa14a3" providerId="ADAL" clId="{0BB70A82-80D9-4EC3-B97F-15C8BD3837A1}" dt="2022-05-30T14:53:48.128" v="637" actId="478"/>
          <ac:picMkLst>
            <pc:docMk/>
            <pc:sldMk cId="1161817238" sldId="760"/>
            <ac:picMk id="3082" creationId="{42C4AEA5-6256-4983-B689-46372F51BAA0}"/>
          </ac:picMkLst>
        </pc:picChg>
        <pc:picChg chg="add del mod">
          <ac:chgData name="Monique Swanepoel" userId="ee0f72f5-127d-43b4-bee3-54058faa14a3" providerId="ADAL" clId="{0BB70A82-80D9-4EC3-B97F-15C8BD3837A1}" dt="2022-05-30T13:45:31.858" v="10" actId="478"/>
          <ac:picMkLst>
            <pc:docMk/>
            <pc:sldMk cId="1161817238" sldId="760"/>
            <ac:picMk id="6146" creationId="{4E05A6DA-27A1-4AD8-AA06-043B67E132A6}"/>
          </ac:picMkLst>
        </pc:picChg>
        <pc:picChg chg="add del mod">
          <ac:chgData name="Monique Swanepoel" userId="ee0f72f5-127d-43b4-bee3-54058faa14a3" providerId="ADAL" clId="{0BB70A82-80D9-4EC3-B97F-15C8BD3837A1}" dt="2022-05-30T13:46:05.625" v="15" actId="478"/>
          <ac:picMkLst>
            <pc:docMk/>
            <pc:sldMk cId="1161817238" sldId="760"/>
            <ac:picMk id="6148" creationId="{0817AA2A-C4A5-44E5-9763-3333945F6977}"/>
          </ac:picMkLst>
        </pc:picChg>
        <pc:picChg chg="add del mod">
          <ac:chgData name="Monique Swanepoel" userId="ee0f72f5-127d-43b4-bee3-54058faa14a3" providerId="ADAL" clId="{0BB70A82-80D9-4EC3-B97F-15C8BD3837A1}" dt="2022-05-30T13:46:05.625" v="15" actId="478"/>
          <ac:picMkLst>
            <pc:docMk/>
            <pc:sldMk cId="1161817238" sldId="760"/>
            <ac:picMk id="6150" creationId="{F168D3C1-B41E-4D20-B81C-25CA7CB48261}"/>
          </ac:picMkLst>
        </pc:picChg>
        <pc:picChg chg="add del mod">
          <ac:chgData name="Monique Swanepoel" userId="ee0f72f5-127d-43b4-bee3-54058faa14a3" providerId="ADAL" clId="{0BB70A82-80D9-4EC3-B97F-15C8BD3837A1}" dt="2022-05-30T16:08:23.073" v="648" actId="478"/>
          <ac:picMkLst>
            <pc:docMk/>
            <pc:sldMk cId="1161817238" sldId="760"/>
            <ac:picMk id="6152" creationId="{3E0B2328-D047-4BD1-AEB6-16CE533D92A5}"/>
          </ac:picMkLst>
        </pc:picChg>
        <pc:picChg chg="add del mod">
          <ac:chgData name="Monique Swanepoel" userId="ee0f72f5-127d-43b4-bee3-54058faa14a3" providerId="ADAL" clId="{0BB70A82-80D9-4EC3-B97F-15C8BD3837A1}" dt="2022-05-30T14:33:46.298" v="341"/>
          <ac:picMkLst>
            <pc:docMk/>
            <pc:sldMk cId="1161817238" sldId="760"/>
            <ac:picMk id="6154" creationId="{8385B532-D7A4-4231-AFF5-4358E053453D}"/>
          </ac:picMkLst>
        </pc:picChg>
        <pc:picChg chg="add del mod">
          <ac:chgData name="Monique Swanepoel" userId="ee0f72f5-127d-43b4-bee3-54058faa14a3" providerId="ADAL" clId="{0BB70A82-80D9-4EC3-B97F-15C8BD3837A1}" dt="2022-05-30T14:33:43.995" v="336"/>
          <ac:picMkLst>
            <pc:docMk/>
            <pc:sldMk cId="1161817238" sldId="760"/>
            <ac:picMk id="6156" creationId="{2767CE30-9E58-4C81-9EDD-ABBDF09CF9B4}"/>
          </ac:picMkLst>
        </pc:picChg>
        <pc:picChg chg="add del mod">
          <ac:chgData name="Monique Swanepoel" userId="ee0f72f5-127d-43b4-bee3-54058faa14a3" providerId="ADAL" clId="{0BB70A82-80D9-4EC3-B97F-15C8BD3837A1}" dt="2022-05-30T14:48:59.625" v="608" actId="478"/>
          <ac:picMkLst>
            <pc:docMk/>
            <pc:sldMk cId="1161817238" sldId="760"/>
            <ac:picMk id="6158" creationId="{0315D95F-A60C-4487-AB23-8D98E7426834}"/>
          </ac:picMkLst>
        </pc:picChg>
        <pc:picChg chg="add del mod">
          <ac:chgData name="Monique Swanepoel" userId="ee0f72f5-127d-43b4-bee3-54058faa14a3" providerId="ADAL" clId="{0BB70A82-80D9-4EC3-B97F-15C8BD3837A1}" dt="2022-05-30T14:52:44.185" v="626" actId="478"/>
          <ac:picMkLst>
            <pc:docMk/>
            <pc:sldMk cId="1161817238" sldId="760"/>
            <ac:picMk id="6160" creationId="{593C24BE-D913-40DE-B8EE-94A96CB03B51}"/>
          </ac:picMkLst>
        </pc:picChg>
        <pc:picChg chg="add del">
          <ac:chgData name="Monique Swanepoel" userId="ee0f72f5-127d-43b4-bee3-54058faa14a3" providerId="ADAL" clId="{0BB70A82-80D9-4EC3-B97F-15C8BD3837A1}" dt="2022-05-30T14:49:43.594" v="615" actId="478"/>
          <ac:picMkLst>
            <pc:docMk/>
            <pc:sldMk cId="1161817238" sldId="760"/>
            <ac:picMk id="6162" creationId="{AC9B7299-7A12-4250-81B8-5F7989709020}"/>
          </ac:picMkLst>
        </pc:picChg>
        <pc:picChg chg="add del">
          <ac:chgData name="Monique Swanepoel" userId="ee0f72f5-127d-43b4-bee3-54058faa14a3" providerId="ADAL" clId="{0BB70A82-80D9-4EC3-B97F-15C8BD3837A1}" dt="2022-05-30T14:50:08.360" v="617" actId="478"/>
          <ac:picMkLst>
            <pc:docMk/>
            <pc:sldMk cId="1161817238" sldId="760"/>
            <ac:picMk id="6164" creationId="{4D4FD6BE-BABF-489E-B0FB-078446495D6B}"/>
          </ac:picMkLst>
        </pc:picChg>
      </pc:sldChg>
      <pc:sldChg chg="addSp delSp modSp mod">
        <pc:chgData name="Monique Swanepoel" userId="ee0f72f5-127d-43b4-bee3-54058faa14a3" providerId="ADAL" clId="{0BB70A82-80D9-4EC3-B97F-15C8BD3837A1}" dt="2022-05-30T16:19:01.039" v="781" actId="1037"/>
        <pc:sldMkLst>
          <pc:docMk/>
          <pc:sldMk cId="89947831" sldId="761"/>
        </pc:sldMkLst>
        <pc:spChg chg="mod">
          <ac:chgData name="Monique Swanepoel" userId="ee0f72f5-127d-43b4-bee3-54058faa14a3" providerId="ADAL" clId="{0BB70A82-80D9-4EC3-B97F-15C8BD3837A1}" dt="2022-05-30T14:27:01.151" v="306" actId="947"/>
          <ac:spMkLst>
            <pc:docMk/>
            <pc:sldMk cId="89947831" sldId="761"/>
            <ac:spMk id="12" creationId="{381D5D5C-1DEB-47E8-A3F2-A5DD8EB6B83A}"/>
          </ac:spMkLst>
        </pc:spChg>
        <pc:spChg chg="mod">
          <ac:chgData name="Monique Swanepoel" userId="ee0f72f5-127d-43b4-bee3-54058faa14a3" providerId="ADAL" clId="{0BB70A82-80D9-4EC3-B97F-15C8BD3837A1}" dt="2022-05-30T16:18:57.052" v="775" actId="1037"/>
          <ac:spMkLst>
            <pc:docMk/>
            <pc:sldMk cId="89947831" sldId="761"/>
            <ac:spMk id="21" creationId="{0E5B2240-18F8-4312-A3D7-331DCEEB0DED}"/>
          </ac:spMkLst>
        </pc:spChg>
        <pc:spChg chg="mod">
          <ac:chgData name="Monique Swanepoel" userId="ee0f72f5-127d-43b4-bee3-54058faa14a3" providerId="ADAL" clId="{0BB70A82-80D9-4EC3-B97F-15C8BD3837A1}" dt="2022-05-30T16:18:59.344" v="778" actId="1037"/>
          <ac:spMkLst>
            <pc:docMk/>
            <pc:sldMk cId="89947831" sldId="761"/>
            <ac:spMk id="22" creationId="{7698E496-2015-41E9-B068-E12B23993748}"/>
          </ac:spMkLst>
        </pc:spChg>
        <pc:spChg chg="mod">
          <ac:chgData name="Monique Swanepoel" userId="ee0f72f5-127d-43b4-bee3-54058faa14a3" providerId="ADAL" clId="{0BB70A82-80D9-4EC3-B97F-15C8BD3837A1}" dt="2022-05-30T16:19:01.039" v="781" actId="1037"/>
          <ac:spMkLst>
            <pc:docMk/>
            <pc:sldMk cId="89947831" sldId="761"/>
            <ac:spMk id="23" creationId="{AF671DB3-0CDC-4890-9513-BABAF9AC66BE}"/>
          </ac:spMkLst>
        </pc:spChg>
        <pc:picChg chg="del">
          <ac:chgData name="Monique Swanepoel" userId="ee0f72f5-127d-43b4-bee3-54058faa14a3" providerId="ADAL" clId="{0BB70A82-80D9-4EC3-B97F-15C8BD3837A1}" dt="2022-05-30T16:10:45.070" v="678" actId="478"/>
          <ac:picMkLst>
            <pc:docMk/>
            <pc:sldMk cId="89947831" sldId="761"/>
            <ac:picMk id="13" creationId="{25FDE297-6F2E-4437-9B77-F1934C289B48}"/>
          </ac:picMkLst>
        </pc:picChg>
        <pc:picChg chg="del">
          <ac:chgData name="Monique Swanepoel" userId="ee0f72f5-127d-43b4-bee3-54058faa14a3" providerId="ADAL" clId="{0BB70A82-80D9-4EC3-B97F-15C8BD3837A1}" dt="2022-05-30T16:10:24.454" v="674" actId="478"/>
          <ac:picMkLst>
            <pc:docMk/>
            <pc:sldMk cId="89947831" sldId="761"/>
            <ac:picMk id="14" creationId="{F3F7F9FD-E3E6-4654-B3FD-DDC9BBD2E552}"/>
          </ac:picMkLst>
        </pc:picChg>
        <pc:picChg chg="add mod">
          <ac:chgData name="Monique Swanepoel" userId="ee0f72f5-127d-43b4-bee3-54058faa14a3" providerId="ADAL" clId="{0BB70A82-80D9-4EC3-B97F-15C8BD3837A1}" dt="2022-05-30T16:10:56.763" v="681" actId="14861"/>
          <ac:picMkLst>
            <pc:docMk/>
            <pc:sldMk cId="89947831" sldId="761"/>
            <ac:picMk id="24" creationId="{814EBE16-964B-4A65-98DC-95236714DAA1}"/>
          </ac:picMkLst>
        </pc:picChg>
        <pc:picChg chg="add mod">
          <ac:chgData name="Monique Swanepoel" userId="ee0f72f5-127d-43b4-bee3-54058faa14a3" providerId="ADAL" clId="{0BB70A82-80D9-4EC3-B97F-15C8BD3837A1}" dt="2022-05-30T16:10:56.763" v="681" actId="14861"/>
          <ac:picMkLst>
            <pc:docMk/>
            <pc:sldMk cId="89947831" sldId="761"/>
            <ac:picMk id="25" creationId="{F6C80E81-5B61-421C-9BE3-1506E9179919}"/>
          </ac:picMkLst>
        </pc:picChg>
        <pc:picChg chg="add mod">
          <ac:chgData name="Monique Swanepoel" userId="ee0f72f5-127d-43b4-bee3-54058faa14a3" providerId="ADAL" clId="{0BB70A82-80D9-4EC3-B97F-15C8BD3837A1}" dt="2022-05-30T16:10:56.763" v="681" actId="14861"/>
          <ac:picMkLst>
            <pc:docMk/>
            <pc:sldMk cId="89947831" sldId="761"/>
            <ac:picMk id="26" creationId="{038F6668-D5E7-4F2F-91D4-26C2D81B3876}"/>
          </ac:picMkLst>
        </pc:picChg>
        <pc:picChg chg="del">
          <ac:chgData name="Monique Swanepoel" userId="ee0f72f5-127d-43b4-bee3-54058faa14a3" providerId="ADAL" clId="{0BB70A82-80D9-4EC3-B97F-15C8BD3837A1}" dt="2022-05-30T16:10:13.327" v="670" actId="478"/>
          <ac:picMkLst>
            <pc:docMk/>
            <pc:sldMk cId="89947831" sldId="761"/>
            <ac:picMk id="5122" creationId="{A42DFD02-A8D0-4E7F-8799-966DB8B1CB39}"/>
          </ac:picMkLst>
        </pc:picChg>
        <pc:picChg chg="add del">
          <ac:chgData name="Monique Swanepoel" userId="ee0f72f5-127d-43b4-bee3-54058faa14a3" providerId="ADAL" clId="{0BB70A82-80D9-4EC3-B97F-15C8BD3837A1}" dt="2022-05-30T14:32:23.998" v="317" actId="478"/>
          <ac:picMkLst>
            <pc:docMk/>
            <pc:sldMk cId="89947831" sldId="761"/>
            <ac:picMk id="5124" creationId="{5B6C55BE-D49A-4A9E-9248-50F7A2E400CB}"/>
          </ac:picMkLst>
        </pc:picChg>
        <pc:picChg chg="add del mod">
          <ac:chgData name="Monique Swanepoel" userId="ee0f72f5-127d-43b4-bee3-54058faa14a3" providerId="ADAL" clId="{0BB70A82-80D9-4EC3-B97F-15C8BD3837A1}" dt="2022-05-30T14:48:09.015" v="596" actId="478"/>
          <ac:picMkLst>
            <pc:docMk/>
            <pc:sldMk cId="89947831" sldId="761"/>
            <ac:picMk id="5126" creationId="{D71DA0AE-643A-4FE0-9ACF-A1129A10B418}"/>
          </ac:picMkLst>
        </pc:picChg>
      </pc:sldChg>
      <pc:sldChg chg="addSp delSp modSp mod modAnim">
        <pc:chgData name="Monique Swanepoel" userId="ee0f72f5-127d-43b4-bee3-54058faa14a3" providerId="ADAL" clId="{0BB70A82-80D9-4EC3-B97F-15C8BD3837A1}" dt="2022-05-30T16:13:50.530" v="718" actId="113"/>
        <pc:sldMkLst>
          <pc:docMk/>
          <pc:sldMk cId="865649" sldId="762"/>
        </pc:sldMkLst>
        <pc:spChg chg="mod">
          <ac:chgData name="Monique Swanepoel" userId="ee0f72f5-127d-43b4-bee3-54058faa14a3" providerId="ADAL" clId="{0BB70A82-80D9-4EC3-B97F-15C8BD3837A1}" dt="2022-05-30T14:16:45.629" v="210" actId="2711"/>
          <ac:spMkLst>
            <pc:docMk/>
            <pc:sldMk cId="865649" sldId="762"/>
            <ac:spMk id="33" creationId="{A5E82B09-E7D1-43F3-BC5C-7791D09CCE63}"/>
          </ac:spMkLst>
        </pc:spChg>
        <pc:spChg chg="mod">
          <ac:chgData name="Monique Swanepoel" userId="ee0f72f5-127d-43b4-bee3-54058faa14a3" providerId="ADAL" clId="{0BB70A82-80D9-4EC3-B97F-15C8BD3837A1}" dt="2022-05-30T14:28:50.837" v="315" actId="20577"/>
          <ac:spMkLst>
            <pc:docMk/>
            <pc:sldMk cId="865649" sldId="762"/>
            <ac:spMk id="292" creationId="{00000000-0000-0000-0000-000000000000}"/>
          </ac:spMkLst>
        </pc:spChg>
        <pc:spChg chg="mod">
          <ac:chgData name="Monique Swanepoel" userId="ee0f72f5-127d-43b4-bee3-54058faa14a3" providerId="ADAL" clId="{0BB70A82-80D9-4EC3-B97F-15C8BD3837A1}" dt="2022-05-30T16:13:50.530" v="718" actId="113"/>
          <ac:spMkLst>
            <pc:docMk/>
            <pc:sldMk cId="865649" sldId="762"/>
            <ac:spMk id="295" creationId="{00000000-0000-0000-0000-000000000000}"/>
          </ac:spMkLst>
        </pc:spChg>
        <pc:picChg chg="add mod">
          <ac:chgData name="Monique Swanepoel" userId="ee0f72f5-127d-43b4-bee3-54058faa14a3" providerId="ADAL" clId="{0BB70A82-80D9-4EC3-B97F-15C8BD3837A1}" dt="2022-05-30T16:12:16.009" v="704" actId="14861"/>
          <ac:picMkLst>
            <pc:docMk/>
            <pc:sldMk cId="865649" sldId="762"/>
            <ac:picMk id="42" creationId="{981DC11B-66E5-4BE4-9FF9-64332E9FE006}"/>
          </ac:picMkLst>
        </pc:picChg>
        <pc:picChg chg="add mod">
          <ac:chgData name="Monique Swanepoel" userId="ee0f72f5-127d-43b4-bee3-54058faa14a3" providerId="ADAL" clId="{0BB70A82-80D9-4EC3-B97F-15C8BD3837A1}" dt="2022-05-30T16:12:16.009" v="704" actId="14861"/>
          <ac:picMkLst>
            <pc:docMk/>
            <pc:sldMk cId="865649" sldId="762"/>
            <ac:picMk id="43" creationId="{7BFDED80-5757-459A-B9CD-40B39F069E6A}"/>
          </ac:picMkLst>
        </pc:picChg>
        <pc:picChg chg="add mod">
          <ac:chgData name="Monique Swanepoel" userId="ee0f72f5-127d-43b4-bee3-54058faa14a3" providerId="ADAL" clId="{0BB70A82-80D9-4EC3-B97F-15C8BD3837A1}" dt="2022-05-30T16:12:16.009" v="704" actId="14861"/>
          <ac:picMkLst>
            <pc:docMk/>
            <pc:sldMk cId="865649" sldId="762"/>
            <ac:picMk id="46" creationId="{C412C2D0-3DA0-4D90-BEE7-4CB712C68FE0}"/>
          </ac:picMkLst>
        </pc:picChg>
        <pc:picChg chg="add mod">
          <ac:chgData name="Monique Swanepoel" userId="ee0f72f5-127d-43b4-bee3-54058faa14a3" providerId="ADAL" clId="{0BB70A82-80D9-4EC3-B97F-15C8BD3837A1}" dt="2022-05-30T16:13:29.527" v="717" actId="14861"/>
          <ac:picMkLst>
            <pc:docMk/>
            <pc:sldMk cId="865649" sldId="762"/>
            <ac:picMk id="48" creationId="{5FB76F09-E6E1-4F77-9F2A-1A59311F7D84}"/>
          </ac:picMkLst>
        </pc:picChg>
        <pc:picChg chg="add mod">
          <ac:chgData name="Monique Swanepoel" userId="ee0f72f5-127d-43b4-bee3-54058faa14a3" providerId="ADAL" clId="{0BB70A82-80D9-4EC3-B97F-15C8BD3837A1}" dt="2022-05-30T16:13:29.527" v="717" actId="14861"/>
          <ac:picMkLst>
            <pc:docMk/>
            <pc:sldMk cId="865649" sldId="762"/>
            <ac:picMk id="49" creationId="{91B5B619-AD86-442D-BC9E-EE359F5ABA6B}"/>
          </ac:picMkLst>
        </pc:picChg>
        <pc:picChg chg="add mod">
          <ac:chgData name="Monique Swanepoel" userId="ee0f72f5-127d-43b4-bee3-54058faa14a3" providerId="ADAL" clId="{0BB70A82-80D9-4EC3-B97F-15C8BD3837A1}" dt="2022-05-30T16:13:29.527" v="717" actId="14861"/>
          <ac:picMkLst>
            <pc:docMk/>
            <pc:sldMk cId="865649" sldId="762"/>
            <ac:picMk id="51" creationId="{2A51D807-1925-4126-90A7-473AE838D940}"/>
          </ac:picMkLst>
        </pc:picChg>
        <pc:picChg chg="del">
          <ac:chgData name="Monique Swanepoel" userId="ee0f72f5-127d-43b4-bee3-54058faa14a3" providerId="ADAL" clId="{0BB70A82-80D9-4EC3-B97F-15C8BD3837A1}" dt="2022-05-30T16:11:39.575" v="693" actId="478"/>
          <ac:picMkLst>
            <pc:docMk/>
            <pc:sldMk cId="865649" sldId="762"/>
            <ac:picMk id="4098" creationId="{93E18373-4217-4367-9261-C3DA1F8C9B8D}"/>
          </ac:picMkLst>
        </pc:picChg>
        <pc:picChg chg="del">
          <ac:chgData name="Monique Swanepoel" userId="ee0f72f5-127d-43b4-bee3-54058faa14a3" providerId="ADAL" clId="{0BB70A82-80D9-4EC3-B97F-15C8BD3837A1}" dt="2022-05-30T16:11:50.229" v="697" actId="478"/>
          <ac:picMkLst>
            <pc:docMk/>
            <pc:sldMk cId="865649" sldId="762"/>
            <ac:picMk id="4100" creationId="{D4D4A68F-4EE9-4AA9-8C58-24CB6050FCD7}"/>
          </ac:picMkLst>
        </pc:picChg>
        <pc:picChg chg="del mod">
          <ac:chgData name="Monique Swanepoel" userId="ee0f72f5-127d-43b4-bee3-54058faa14a3" providerId="ADAL" clId="{0BB70A82-80D9-4EC3-B97F-15C8BD3837A1}" dt="2022-05-30T16:12:01.476" v="701" actId="478"/>
          <ac:picMkLst>
            <pc:docMk/>
            <pc:sldMk cId="865649" sldId="762"/>
            <ac:picMk id="4102" creationId="{E5E98827-993B-4037-9123-93C68A675004}"/>
          </ac:picMkLst>
        </pc:picChg>
        <pc:picChg chg="del">
          <ac:chgData name="Monique Swanepoel" userId="ee0f72f5-127d-43b4-bee3-54058faa14a3" providerId="ADAL" clId="{0BB70A82-80D9-4EC3-B97F-15C8BD3837A1}" dt="2022-05-30T16:12:29.265" v="705" actId="478"/>
          <ac:picMkLst>
            <pc:docMk/>
            <pc:sldMk cId="865649" sldId="762"/>
            <ac:picMk id="4106" creationId="{01B54ABF-A252-42BE-A593-194E8A5AA8C6}"/>
          </ac:picMkLst>
        </pc:picChg>
        <pc:picChg chg="del">
          <ac:chgData name="Monique Swanepoel" userId="ee0f72f5-127d-43b4-bee3-54058faa14a3" providerId="ADAL" clId="{0BB70A82-80D9-4EC3-B97F-15C8BD3837A1}" dt="2022-05-30T16:12:50.249" v="708" actId="478"/>
          <ac:picMkLst>
            <pc:docMk/>
            <pc:sldMk cId="865649" sldId="762"/>
            <ac:picMk id="4108" creationId="{0EBC4204-574B-425C-9EBC-06EE9B114DC9}"/>
          </ac:picMkLst>
        </pc:picChg>
        <pc:picChg chg="del">
          <ac:chgData name="Monique Swanepoel" userId="ee0f72f5-127d-43b4-bee3-54058faa14a3" providerId="ADAL" clId="{0BB70A82-80D9-4EC3-B97F-15C8BD3837A1}" dt="2022-05-30T16:13:06.075" v="712" actId="478"/>
          <ac:picMkLst>
            <pc:docMk/>
            <pc:sldMk cId="865649" sldId="762"/>
            <ac:picMk id="4110" creationId="{9BEA2E80-46B3-4495-A8A4-456F0F2A803F}"/>
          </ac:picMkLst>
        </pc:picChg>
      </pc:sldChg>
      <pc:sldChg chg="addSp delSp modSp mod modNotesTx">
        <pc:chgData name="Monique Swanepoel" userId="ee0f72f5-127d-43b4-bee3-54058faa14a3" providerId="ADAL" clId="{0BB70A82-80D9-4EC3-B97F-15C8BD3837A1}" dt="2022-05-30T16:24:47.463" v="968" actId="1037"/>
        <pc:sldMkLst>
          <pc:docMk/>
          <pc:sldMk cId="3768276126" sldId="763"/>
        </pc:sldMkLst>
        <pc:spChg chg="mod">
          <ac:chgData name="Monique Swanepoel" userId="ee0f72f5-127d-43b4-bee3-54058faa14a3" providerId="ADAL" clId="{0BB70A82-80D9-4EC3-B97F-15C8BD3837A1}" dt="2022-05-30T14:27:18.920" v="307" actId="947"/>
          <ac:spMkLst>
            <pc:docMk/>
            <pc:sldMk cId="3768276126" sldId="763"/>
            <ac:spMk id="12" creationId="{381D5D5C-1DEB-47E8-A3F2-A5DD8EB6B83A}"/>
          </ac:spMkLst>
        </pc:spChg>
        <pc:spChg chg="mod">
          <ac:chgData name="Monique Swanepoel" userId="ee0f72f5-127d-43b4-bee3-54058faa14a3" providerId="ADAL" clId="{0BB70A82-80D9-4EC3-B97F-15C8BD3837A1}" dt="2022-05-30T16:18:52.561" v="771" actId="1037"/>
          <ac:spMkLst>
            <pc:docMk/>
            <pc:sldMk cId="3768276126" sldId="763"/>
            <ac:spMk id="20" creationId="{ADB10F6B-0A4F-4CD6-9750-354ADBA58FE1}"/>
          </ac:spMkLst>
        </pc:spChg>
        <pc:spChg chg="mod">
          <ac:chgData name="Monique Swanepoel" userId="ee0f72f5-127d-43b4-bee3-54058faa14a3" providerId="ADAL" clId="{0BB70A82-80D9-4EC3-B97F-15C8BD3837A1}" dt="2022-05-30T16:24:03.201" v="900" actId="1037"/>
          <ac:spMkLst>
            <pc:docMk/>
            <pc:sldMk cId="3768276126" sldId="763"/>
            <ac:spMk id="21" creationId="{0E5B2240-18F8-4312-A3D7-331DCEEB0DED}"/>
          </ac:spMkLst>
        </pc:spChg>
        <pc:spChg chg="mod">
          <ac:chgData name="Monique Swanepoel" userId="ee0f72f5-127d-43b4-bee3-54058faa14a3" providerId="ADAL" clId="{0BB70A82-80D9-4EC3-B97F-15C8BD3837A1}" dt="2022-05-30T16:24:47.463" v="968" actId="1037"/>
          <ac:spMkLst>
            <pc:docMk/>
            <pc:sldMk cId="3768276126" sldId="763"/>
            <ac:spMk id="22" creationId="{7698E496-2015-41E9-B068-E12B23993748}"/>
          </ac:spMkLst>
        </pc:spChg>
        <pc:spChg chg="mod">
          <ac:chgData name="Monique Swanepoel" userId="ee0f72f5-127d-43b4-bee3-54058faa14a3" providerId="ADAL" clId="{0BB70A82-80D9-4EC3-B97F-15C8BD3837A1}" dt="2022-05-30T16:18:49.691" v="769" actId="1037"/>
          <ac:spMkLst>
            <pc:docMk/>
            <pc:sldMk cId="3768276126" sldId="763"/>
            <ac:spMk id="23" creationId="{AF671DB3-0CDC-4890-9513-BABAF9AC66BE}"/>
          </ac:spMkLst>
        </pc:spChg>
        <pc:picChg chg="del">
          <ac:chgData name="Monique Swanepoel" userId="ee0f72f5-127d-43b4-bee3-54058faa14a3" providerId="ADAL" clId="{0BB70A82-80D9-4EC3-B97F-15C8BD3837A1}" dt="2022-05-30T16:14:22.347" v="723" actId="478"/>
          <ac:picMkLst>
            <pc:docMk/>
            <pc:sldMk cId="3768276126" sldId="763"/>
            <ac:picMk id="13" creationId="{82AF0409-1897-479A-A600-94401B4B4F43}"/>
          </ac:picMkLst>
        </pc:picChg>
        <pc:picChg chg="del">
          <ac:chgData name="Monique Swanepoel" userId="ee0f72f5-127d-43b4-bee3-54058faa14a3" providerId="ADAL" clId="{0BB70A82-80D9-4EC3-B97F-15C8BD3837A1}" dt="2022-05-30T16:14:48.858" v="727" actId="478"/>
          <ac:picMkLst>
            <pc:docMk/>
            <pc:sldMk cId="3768276126" sldId="763"/>
            <ac:picMk id="14" creationId="{8AB9A1F7-0B88-409E-842B-1117603A08C0}"/>
          </ac:picMkLst>
        </pc:picChg>
        <pc:picChg chg="del">
          <ac:chgData name="Monique Swanepoel" userId="ee0f72f5-127d-43b4-bee3-54058faa14a3" providerId="ADAL" clId="{0BB70A82-80D9-4EC3-B97F-15C8BD3837A1}" dt="2022-05-30T16:14:05.498" v="719" actId="478"/>
          <ac:picMkLst>
            <pc:docMk/>
            <pc:sldMk cId="3768276126" sldId="763"/>
            <ac:picMk id="16" creationId="{B12F9784-54B9-43B2-B4AA-F94EFE75CDA0}"/>
          </ac:picMkLst>
        </pc:picChg>
        <pc:picChg chg="add mod">
          <ac:chgData name="Monique Swanepoel" userId="ee0f72f5-127d-43b4-bee3-54058faa14a3" providerId="ADAL" clId="{0BB70A82-80D9-4EC3-B97F-15C8BD3837A1}" dt="2022-05-30T16:15:30.293" v="733" actId="14861"/>
          <ac:picMkLst>
            <pc:docMk/>
            <pc:sldMk cId="3768276126" sldId="763"/>
            <ac:picMk id="18" creationId="{1147BB3E-8584-42FC-83C4-B12C8A5EF1D7}"/>
          </ac:picMkLst>
        </pc:picChg>
        <pc:picChg chg="add mod">
          <ac:chgData name="Monique Swanepoel" userId="ee0f72f5-127d-43b4-bee3-54058faa14a3" providerId="ADAL" clId="{0BB70A82-80D9-4EC3-B97F-15C8BD3837A1}" dt="2022-05-30T16:15:30.293" v="733" actId="14861"/>
          <ac:picMkLst>
            <pc:docMk/>
            <pc:sldMk cId="3768276126" sldId="763"/>
            <ac:picMk id="19" creationId="{04894C8D-8AA0-4A3B-B26A-5DC2ECBB0707}"/>
          </ac:picMkLst>
        </pc:picChg>
        <pc:picChg chg="add mod">
          <ac:chgData name="Monique Swanepoel" userId="ee0f72f5-127d-43b4-bee3-54058faa14a3" providerId="ADAL" clId="{0BB70A82-80D9-4EC3-B97F-15C8BD3837A1}" dt="2022-05-30T16:15:30.293" v="733" actId="14861"/>
          <ac:picMkLst>
            <pc:docMk/>
            <pc:sldMk cId="3768276126" sldId="763"/>
            <ac:picMk id="24" creationId="{24A932C7-AD1E-4CBA-91C4-BCF152F2B533}"/>
          </ac:picMkLst>
        </pc:picChg>
        <pc:picChg chg="add mod">
          <ac:chgData name="Monique Swanepoel" userId="ee0f72f5-127d-43b4-bee3-54058faa14a3" providerId="ADAL" clId="{0BB70A82-80D9-4EC3-B97F-15C8BD3837A1}" dt="2022-05-30T16:15:30.293" v="733" actId="14861"/>
          <ac:picMkLst>
            <pc:docMk/>
            <pc:sldMk cId="3768276126" sldId="763"/>
            <ac:picMk id="25" creationId="{DC4897A0-A4D8-454B-BC8B-C0BA92CFC61F}"/>
          </ac:picMkLst>
        </pc:picChg>
        <pc:picChg chg="del mod">
          <ac:chgData name="Monique Swanepoel" userId="ee0f72f5-127d-43b4-bee3-54058faa14a3" providerId="ADAL" clId="{0BB70A82-80D9-4EC3-B97F-15C8BD3837A1}" dt="2022-05-30T16:15:01.812" v="730" actId="478"/>
          <ac:picMkLst>
            <pc:docMk/>
            <pc:sldMk cId="3768276126" sldId="763"/>
            <ac:picMk id="7170" creationId="{0E9FC265-761B-482A-8B9E-B9E03E2FFDA3}"/>
          </ac:picMkLst>
        </pc:picChg>
      </pc:sldChg>
      <pc:sldChg chg="addSp delSp modSp mod modNotesTx">
        <pc:chgData name="Monique Swanepoel" userId="ee0f72f5-127d-43b4-bee3-54058faa14a3" providerId="ADAL" clId="{0BB70A82-80D9-4EC3-B97F-15C8BD3837A1}" dt="2022-05-30T16:34:32.018" v="1159" actId="6549"/>
        <pc:sldMkLst>
          <pc:docMk/>
          <pc:sldMk cId="1735910887" sldId="764"/>
        </pc:sldMkLst>
        <pc:spChg chg="add mod">
          <ac:chgData name="Monique Swanepoel" userId="ee0f72f5-127d-43b4-bee3-54058faa14a3" providerId="ADAL" clId="{0BB70A82-80D9-4EC3-B97F-15C8BD3837A1}" dt="2022-05-30T14:37:56.324" v="450" actId="14861"/>
          <ac:spMkLst>
            <pc:docMk/>
            <pc:sldMk cId="1735910887" sldId="764"/>
            <ac:spMk id="2" creationId="{DEA9B3CB-F036-4882-8012-884D1DE1B886}"/>
          </ac:spMkLst>
        </pc:spChg>
        <pc:spChg chg="mod">
          <ac:chgData name="Monique Swanepoel" userId="ee0f72f5-127d-43b4-bee3-54058faa14a3" providerId="ADAL" clId="{0BB70A82-80D9-4EC3-B97F-15C8BD3837A1}" dt="2022-05-30T16:32:43.529" v="1120" actId="20577"/>
          <ac:spMkLst>
            <pc:docMk/>
            <pc:sldMk cId="1735910887" sldId="764"/>
            <ac:spMk id="12" creationId="{381D5D5C-1DEB-47E8-A3F2-A5DD8EB6B83A}"/>
          </ac:spMkLst>
        </pc:spChg>
        <pc:spChg chg="mod">
          <ac:chgData name="Monique Swanepoel" userId="ee0f72f5-127d-43b4-bee3-54058faa14a3" providerId="ADAL" clId="{0BB70A82-80D9-4EC3-B97F-15C8BD3837A1}" dt="2022-05-30T16:32:01.891" v="1090" actId="1038"/>
          <ac:spMkLst>
            <pc:docMk/>
            <pc:sldMk cId="1735910887" sldId="764"/>
            <ac:spMk id="20" creationId="{ADB10F6B-0A4F-4CD6-9750-354ADBA58FE1}"/>
          </ac:spMkLst>
        </pc:spChg>
        <pc:spChg chg="mod">
          <ac:chgData name="Monique Swanepoel" userId="ee0f72f5-127d-43b4-bee3-54058faa14a3" providerId="ADAL" clId="{0BB70A82-80D9-4EC3-B97F-15C8BD3837A1}" dt="2022-05-30T16:18:41.746" v="763" actId="1037"/>
          <ac:spMkLst>
            <pc:docMk/>
            <pc:sldMk cId="1735910887" sldId="764"/>
            <ac:spMk id="21" creationId="{0E5B2240-18F8-4312-A3D7-331DCEEB0DED}"/>
          </ac:spMkLst>
        </pc:spChg>
        <pc:spChg chg="mod">
          <ac:chgData name="Monique Swanepoel" userId="ee0f72f5-127d-43b4-bee3-54058faa14a3" providerId="ADAL" clId="{0BB70A82-80D9-4EC3-B97F-15C8BD3837A1}" dt="2022-05-30T14:18:10.310" v="285" actId="1037"/>
          <ac:spMkLst>
            <pc:docMk/>
            <pc:sldMk cId="1735910887" sldId="764"/>
            <ac:spMk id="22" creationId="{7698E496-2015-41E9-B068-E12B23993748}"/>
          </ac:spMkLst>
        </pc:spChg>
        <pc:spChg chg="mod">
          <ac:chgData name="Monique Swanepoel" userId="ee0f72f5-127d-43b4-bee3-54058faa14a3" providerId="ADAL" clId="{0BB70A82-80D9-4EC3-B97F-15C8BD3837A1}" dt="2022-05-30T16:34:08.294" v="1158" actId="20577"/>
          <ac:spMkLst>
            <pc:docMk/>
            <pc:sldMk cId="1735910887" sldId="764"/>
            <ac:spMk id="23" creationId="{AF671DB3-0CDC-4890-9513-BABAF9AC66BE}"/>
          </ac:spMkLst>
        </pc:spChg>
        <pc:picChg chg="add mod">
          <ac:chgData name="Monique Swanepoel" userId="ee0f72f5-127d-43b4-bee3-54058faa14a3" providerId="ADAL" clId="{0BB70A82-80D9-4EC3-B97F-15C8BD3837A1}" dt="2022-05-30T16:17:15.459" v="749" actId="14861"/>
          <ac:picMkLst>
            <pc:docMk/>
            <pc:sldMk cId="1735910887" sldId="764"/>
            <ac:picMk id="24" creationId="{193BEB11-65A8-4832-B8D7-212B95411CBC}"/>
          </ac:picMkLst>
        </pc:picChg>
        <pc:picChg chg="add mod">
          <ac:chgData name="Monique Swanepoel" userId="ee0f72f5-127d-43b4-bee3-54058faa14a3" providerId="ADAL" clId="{0BB70A82-80D9-4EC3-B97F-15C8BD3837A1}" dt="2022-05-30T16:17:15.459" v="749" actId="14861"/>
          <ac:picMkLst>
            <pc:docMk/>
            <pc:sldMk cId="1735910887" sldId="764"/>
            <ac:picMk id="25" creationId="{BAE5E535-1BB4-460A-A602-861DA1F8AA6F}"/>
          </ac:picMkLst>
        </pc:picChg>
        <pc:picChg chg="add mod">
          <ac:chgData name="Monique Swanepoel" userId="ee0f72f5-127d-43b4-bee3-54058faa14a3" providerId="ADAL" clId="{0BB70A82-80D9-4EC3-B97F-15C8BD3837A1}" dt="2022-05-30T16:17:15.459" v="749" actId="14861"/>
          <ac:picMkLst>
            <pc:docMk/>
            <pc:sldMk cId="1735910887" sldId="764"/>
            <ac:picMk id="26" creationId="{C8AB2295-AA36-4905-95BE-7F0F1E4D52CB}"/>
          </ac:picMkLst>
        </pc:picChg>
        <pc:picChg chg="add mod">
          <ac:chgData name="Monique Swanepoel" userId="ee0f72f5-127d-43b4-bee3-54058faa14a3" providerId="ADAL" clId="{0BB70A82-80D9-4EC3-B97F-15C8BD3837A1}" dt="2022-05-30T16:17:15.459" v="749" actId="14861"/>
          <ac:picMkLst>
            <pc:docMk/>
            <pc:sldMk cId="1735910887" sldId="764"/>
            <ac:picMk id="27" creationId="{477938AB-8BB0-497F-9C9F-0BC3B219E926}"/>
          </ac:picMkLst>
        </pc:picChg>
        <pc:picChg chg="del">
          <ac:chgData name="Monique Swanepoel" userId="ee0f72f5-127d-43b4-bee3-54058faa14a3" providerId="ADAL" clId="{0BB70A82-80D9-4EC3-B97F-15C8BD3837A1}" dt="2022-05-30T16:15:54.341" v="734" actId="478"/>
          <ac:picMkLst>
            <pc:docMk/>
            <pc:sldMk cId="1735910887" sldId="764"/>
            <ac:picMk id="8196" creationId="{07FB3F67-4AE1-4C2D-97F7-B8072EC8C734}"/>
          </ac:picMkLst>
        </pc:picChg>
        <pc:picChg chg="del">
          <ac:chgData name="Monique Swanepoel" userId="ee0f72f5-127d-43b4-bee3-54058faa14a3" providerId="ADAL" clId="{0BB70A82-80D9-4EC3-B97F-15C8BD3837A1}" dt="2022-05-30T16:16:20.437" v="740" actId="478"/>
          <ac:picMkLst>
            <pc:docMk/>
            <pc:sldMk cId="1735910887" sldId="764"/>
            <ac:picMk id="8198" creationId="{C34D8266-DB35-48D0-A594-6F327B428762}"/>
          </ac:picMkLst>
        </pc:picChg>
        <pc:picChg chg="del">
          <ac:chgData name="Monique Swanepoel" userId="ee0f72f5-127d-43b4-bee3-54058faa14a3" providerId="ADAL" clId="{0BB70A82-80D9-4EC3-B97F-15C8BD3837A1}" dt="2022-05-30T16:16:35.975" v="742" actId="478"/>
          <ac:picMkLst>
            <pc:docMk/>
            <pc:sldMk cId="1735910887" sldId="764"/>
            <ac:picMk id="8200" creationId="{9662AE92-AF7F-4FE4-A6A6-D10DCA1AB555}"/>
          </ac:picMkLst>
        </pc:picChg>
        <pc:picChg chg="del mod">
          <ac:chgData name="Monique Swanepoel" userId="ee0f72f5-127d-43b4-bee3-54058faa14a3" providerId="ADAL" clId="{0BB70A82-80D9-4EC3-B97F-15C8BD3837A1}" dt="2022-05-30T16:16:48.806" v="745" actId="478"/>
          <ac:picMkLst>
            <pc:docMk/>
            <pc:sldMk cId="1735910887" sldId="764"/>
            <ac:picMk id="8202" creationId="{41BE9E0E-45D2-48CF-99E8-D21F1A63C417}"/>
          </ac:picMkLst>
        </pc:picChg>
        <pc:picChg chg="add del">
          <ac:chgData name="Monique Swanepoel" userId="ee0f72f5-127d-43b4-bee3-54058faa14a3" providerId="ADAL" clId="{0BB70A82-80D9-4EC3-B97F-15C8BD3837A1}" dt="2022-05-30T14:38:32.172" v="452" actId="478"/>
          <ac:picMkLst>
            <pc:docMk/>
            <pc:sldMk cId="1735910887" sldId="764"/>
            <ac:picMk id="8206" creationId="{76281E8E-DFCF-42F8-A859-E23B79CBD2F9}"/>
          </ac:picMkLst>
        </pc:picChg>
        <pc:picChg chg="add del mod">
          <ac:chgData name="Monique Swanepoel" userId="ee0f72f5-127d-43b4-bee3-54058faa14a3" providerId="ADAL" clId="{0BB70A82-80D9-4EC3-B97F-15C8BD3837A1}" dt="2022-05-30T14:41:02.192" v="542" actId="478"/>
          <ac:picMkLst>
            <pc:docMk/>
            <pc:sldMk cId="1735910887" sldId="764"/>
            <ac:picMk id="8208" creationId="{1546142F-500A-478E-AE18-54D12FCF7492}"/>
          </ac:picMkLst>
        </pc:picChg>
      </pc:sldChg>
      <pc:sldChg chg="add del">
        <pc:chgData name="Monique Swanepoel" userId="ee0f72f5-127d-43b4-bee3-54058faa14a3" providerId="ADAL" clId="{0BB70A82-80D9-4EC3-B97F-15C8BD3837A1}" dt="2022-05-30T16:28:32.610" v="984" actId="47"/>
        <pc:sldMkLst>
          <pc:docMk/>
          <pc:sldMk cId="1640401289" sldId="765"/>
        </pc:sldMkLst>
      </pc:sldChg>
      <pc:sldChg chg="add modNotesTx">
        <pc:chgData name="Monique Swanepoel" userId="ee0f72f5-127d-43b4-bee3-54058faa14a3" providerId="ADAL" clId="{0BB70A82-80D9-4EC3-B97F-15C8BD3837A1}" dt="2022-05-30T16:29:45.229" v="987" actId="20577"/>
        <pc:sldMkLst>
          <pc:docMk/>
          <pc:sldMk cId="3867933966" sldId="765"/>
        </pc:sldMkLst>
      </pc:sldChg>
      <pc:sldChg chg="addSp delSp modSp add mod modNotesTx">
        <pc:chgData name="Monique Swanepoel" userId="ee0f72f5-127d-43b4-bee3-54058faa14a3" providerId="ADAL" clId="{0BB70A82-80D9-4EC3-B97F-15C8BD3837A1}" dt="2022-05-30T16:46:17.499" v="1207" actId="255"/>
        <pc:sldMkLst>
          <pc:docMk/>
          <pc:sldMk cId="1899147908" sldId="766"/>
        </pc:sldMkLst>
        <pc:spChg chg="mod">
          <ac:chgData name="Monique Swanepoel" userId="ee0f72f5-127d-43b4-bee3-54058faa14a3" providerId="ADAL" clId="{0BB70A82-80D9-4EC3-B97F-15C8BD3837A1}" dt="2022-05-30T16:46:17.499" v="1207" actId="255"/>
          <ac:spMkLst>
            <pc:docMk/>
            <pc:sldMk cId="1899147908" sldId="766"/>
            <ac:spMk id="12" creationId="{381D5D5C-1DEB-47E8-A3F2-A5DD8EB6B83A}"/>
          </ac:spMkLst>
        </pc:spChg>
        <pc:spChg chg="del">
          <ac:chgData name="Monique Swanepoel" userId="ee0f72f5-127d-43b4-bee3-54058faa14a3" providerId="ADAL" clId="{0BB70A82-80D9-4EC3-B97F-15C8BD3837A1}" dt="2022-05-30T16:33:00.897" v="1129" actId="478"/>
          <ac:spMkLst>
            <pc:docMk/>
            <pc:sldMk cId="1899147908" sldId="766"/>
            <ac:spMk id="20" creationId="{ADB10F6B-0A4F-4CD6-9750-354ADBA58FE1}"/>
          </ac:spMkLst>
        </pc:spChg>
        <pc:spChg chg="del">
          <ac:chgData name="Monique Swanepoel" userId="ee0f72f5-127d-43b4-bee3-54058faa14a3" providerId="ADAL" clId="{0BB70A82-80D9-4EC3-B97F-15C8BD3837A1}" dt="2022-05-30T16:32:56.980" v="1126" actId="478"/>
          <ac:spMkLst>
            <pc:docMk/>
            <pc:sldMk cId="1899147908" sldId="766"/>
            <ac:spMk id="21" creationId="{0E5B2240-18F8-4312-A3D7-331DCEEB0DED}"/>
          </ac:spMkLst>
        </pc:spChg>
        <pc:spChg chg="del">
          <ac:chgData name="Monique Swanepoel" userId="ee0f72f5-127d-43b4-bee3-54058faa14a3" providerId="ADAL" clId="{0BB70A82-80D9-4EC3-B97F-15C8BD3837A1}" dt="2022-05-30T16:32:56.411" v="1125" actId="478"/>
          <ac:spMkLst>
            <pc:docMk/>
            <pc:sldMk cId="1899147908" sldId="766"/>
            <ac:spMk id="22" creationId="{7698E496-2015-41E9-B068-E12B23993748}"/>
          </ac:spMkLst>
        </pc:spChg>
        <pc:spChg chg="del">
          <ac:chgData name="Monique Swanepoel" userId="ee0f72f5-127d-43b4-bee3-54058faa14a3" providerId="ADAL" clId="{0BB70A82-80D9-4EC3-B97F-15C8BD3837A1}" dt="2022-05-30T16:32:54.467" v="1122" actId="478"/>
          <ac:spMkLst>
            <pc:docMk/>
            <pc:sldMk cId="1899147908" sldId="766"/>
            <ac:spMk id="23" creationId="{AF671DB3-0CDC-4890-9513-BABAF9AC66BE}"/>
          </ac:spMkLst>
        </pc:spChg>
        <pc:picChg chg="add mod">
          <ac:chgData name="Monique Swanepoel" userId="ee0f72f5-127d-43b4-bee3-54058faa14a3" providerId="ADAL" clId="{0BB70A82-80D9-4EC3-B97F-15C8BD3837A1}" dt="2022-05-30T16:38:38.072" v="1184" actId="14861"/>
          <ac:picMkLst>
            <pc:docMk/>
            <pc:sldMk cId="1899147908" sldId="766"/>
            <ac:picMk id="16" creationId="{381935E2-20CA-4818-BDD0-47FB3EA9EC29}"/>
          </ac:picMkLst>
        </pc:picChg>
        <pc:picChg chg="add del mod">
          <ac:chgData name="Monique Swanepoel" userId="ee0f72f5-127d-43b4-bee3-54058faa14a3" providerId="ADAL" clId="{0BB70A82-80D9-4EC3-B97F-15C8BD3837A1}" dt="2022-05-30T16:37:35.066" v="1175" actId="478"/>
          <ac:picMkLst>
            <pc:docMk/>
            <pc:sldMk cId="1899147908" sldId="766"/>
            <ac:picMk id="17" creationId="{B5283055-6676-47F3-8C2A-5DA566C63F69}"/>
          </ac:picMkLst>
        </pc:picChg>
        <pc:picChg chg="add del mod">
          <ac:chgData name="Monique Swanepoel" userId="ee0f72f5-127d-43b4-bee3-54058faa14a3" providerId="ADAL" clId="{0BB70A82-80D9-4EC3-B97F-15C8BD3837A1}" dt="2022-05-30T16:38:18.842" v="1179" actId="478"/>
          <ac:picMkLst>
            <pc:docMk/>
            <pc:sldMk cId="1899147908" sldId="766"/>
            <ac:picMk id="18" creationId="{44E380F9-D460-4742-B079-0F099AAAD704}"/>
          </ac:picMkLst>
        </pc:picChg>
        <pc:picChg chg="add mod">
          <ac:chgData name="Monique Swanepoel" userId="ee0f72f5-127d-43b4-bee3-54058faa14a3" providerId="ADAL" clId="{0BB70A82-80D9-4EC3-B97F-15C8BD3837A1}" dt="2022-05-30T16:38:38.072" v="1184" actId="14861"/>
          <ac:picMkLst>
            <pc:docMk/>
            <pc:sldMk cId="1899147908" sldId="766"/>
            <ac:picMk id="19" creationId="{5298548D-1CF2-47B6-9D50-51CADA9FDE55}"/>
          </ac:picMkLst>
        </pc:picChg>
        <pc:picChg chg="del">
          <ac:chgData name="Monique Swanepoel" userId="ee0f72f5-127d-43b4-bee3-54058faa14a3" providerId="ADAL" clId="{0BB70A82-80D9-4EC3-B97F-15C8BD3837A1}" dt="2022-05-30T16:32:59.475" v="1128" actId="478"/>
          <ac:picMkLst>
            <pc:docMk/>
            <pc:sldMk cId="1899147908" sldId="766"/>
            <ac:picMk id="24" creationId="{193BEB11-65A8-4832-B8D7-212B95411CBC}"/>
          </ac:picMkLst>
        </pc:picChg>
        <pc:picChg chg="del">
          <ac:chgData name="Monique Swanepoel" userId="ee0f72f5-127d-43b4-bee3-54058faa14a3" providerId="ADAL" clId="{0BB70A82-80D9-4EC3-B97F-15C8BD3837A1}" dt="2022-05-30T16:32:58.360" v="1127" actId="478"/>
          <ac:picMkLst>
            <pc:docMk/>
            <pc:sldMk cId="1899147908" sldId="766"/>
            <ac:picMk id="25" creationId="{BAE5E535-1BB4-460A-A602-861DA1F8AA6F}"/>
          </ac:picMkLst>
        </pc:picChg>
        <pc:picChg chg="del">
          <ac:chgData name="Monique Swanepoel" userId="ee0f72f5-127d-43b4-bee3-54058faa14a3" providerId="ADAL" clId="{0BB70A82-80D9-4EC3-B97F-15C8BD3837A1}" dt="2022-05-30T16:32:55.413" v="1124" actId="478"/>
          <ac:picMkLst>
            <pc:docMk/>
            <pc:sldMk cId="1899147908" sldId="766"/>
            <ac:picMk id="26" creationId="{C8AB2295-AA36-4905-95BE-7F0F1E4D52CB}"/>
          </ac:picMkLst>
        </pc:picChg>
        <pc:picChg chg="del">
          <ac:chgData name="Monique Swanepoel" userId="ee0f72f5-127d-43b4-bee3-54058faa14a3" providerId="ADAL" clId="{0BB70A82-80D9-4EC3-B97F-15C8BD3837A1}" dt="2022-05-30T16:32:54.992" v="1123" actId="478"/>
          <ac:picMkLst>
            <pc:docMk/>
            <pc:sldMk cId="1899147908" sldId="766"/>
            <ac:picMk id="27" creationId="{477938AB-8BB0-497F-9C9F-0BC3B219E926}"/>
          </ac:picMkLst>
        </pc:picChg>
        <pc:picChg chg="add mod">
          <ac:chgData name="Monique Swanepoel" userId="ee0f72f5-127d-43b4-bee3-54058faa14a3" providerId="ADAL" clId="{0BB70A82-80D9-4EC3-B97F-15C8BD3837A1}" dt="2022-05-30T16:38:38.072" v="1184" actId="14861"/>
          <ac:picMkLst>
            <pc:docMk/>
            <pc:sldMk cId="1899147908" sldId="766"/>
            <ac:picMk id="28" creationId="{6798DBE8-45D6-423D-B57E-F98F8E208393}"/>
          </ac:picMkLst>
        </pc:picChg>
        <pc:picChg chg="add del">
          <ac:chgData name="Monique Swanepoel" userId="ee0f72f5-127d-43b4-bee3-54058faa14a3" providerId="ADAL" clId="{0BB70A82-80D9-4EC3-B97F-15C8BD3837A1}" dt="2022-05-30T16:35:05.447" v="1162"/>
          <ac:picMkLst>
            <pc:docMk/>
            <pc:sldMk cId="1899147908" sldId="766"/>
            <ac:picMk id="9218" creationId="{8F7F99FF-A5C5-4882-A089-F3E6A69E6BE1}"/>
          </ac:picMkLst>
        </pc:picChg>
        <pc:picChg chg="add del">
          <ac:chgData name="Monique Swanepoel" userId="ee0f72f5-127d-43b4-bee3-54058faa14a3" providerId="ADAL" clId="{0BB70A82-80D9-4EC3-B97F-15C8BD3837A1}" dt="2022-05-30T16:35:17.452" v="1164" actId="478"/>
          <ac:picMkLst>
            <pc:docMk/>
            <pc:sldMk cId="1899147908" sldId="766"/>
            <ac:picMk id="9220" creationId="{D01352A4-8D0D-44FE-A570-D156967DCA46}"/>
          </ac:picMkLst>
        </pc:picChg>
      </pc:sldChg>
      <pc:sldChg chg="add del">
        <pc:chgData name="Monique Swanepoel" userId="ee0f72f5-127d-43b4-bee3-54058faa14a3" providerId="ADAL" clId="{0BB70A82-80D9-4EC3-B97F-15C8BD3837A1}" dt="2022-05-30T16:28:32.610" v="984" actId="47"/>
        <pc:sldMkLst>
          <pc:docMk/>
          <pc:sldMk cId="2156241637" sldId="766"/>
        </pc:sldMkLst>
      </pc:sldChg>
      <pc:sldChg chg="add del">
        <pc:chgData name="Monique Swanepoel" userId="ee0f72f5-127d-43b4-bee3-54058faa14a3" providerId="ADAL" clId="{0BB70A82-80D9-4EC3-B97F-15C8BD3837A1}" dt="2022-05-30T16:28:32.610" v="984" actId="47"/>
        <pc:sldMkLst>
          <pc:docMk/>
          <pc:sldMk cId="982557116" sldId="767"/>
        </pc:sldMkLst>
      </pc:sldChg>
      <pc:sldChg chg="add del">
        <pc:chgData name="Monique Swanepoel" userId="ee0f72f5-127d-43b4-bee3-54058faa14a3" providerId="ADAL" clId="{0BB70A82-80D9-4EC3-B97F-15C8BD3837A1}" dt="2022-05-30T16:28:32.610" v="984" actId="47"/>
        <pc:sldMkLst>
          <pc:docMk/>
          <pc:sldMk cId="847295766" sldId="768"/>
        </pc:sldMkLst>
      </pc:sldChg>
      <pc:sldMasterChg chg="delSldLayout">
        <pc:chgData name="Monique Swanepoel" userId="ee0f72f5-127d-43b4-bee3-54058faa14a3" providerId="ADAL" clId="{0BB70A82-80D9-4EC3-B97F-15C8BD3837A1}" dt="2022-05-30T16:28:32.610" v="984" actId="47"/>
        <pc:sldMasterMkLst>
          <pc:docMk/>
          <pc:sldMasterMk cId="1251368765" sldId="2147483660"/>
        </pc:sldMasterMkLst>
        <pc:sldLayoutChg chg="del">
          <pc:chgData name="Monique Swanepoel" userId="ee0f72f5-127d-43b4-bee3-54058faa14a3" providerId="ADAL" clId="{0BB70A82-80D9-4EC3-B97F-15C8BD3837A1}" dt="2022-05-30T16:28:32.610" v="984" actId="47"/>
          <pc:sldLayoutMkLst>
            <pc:docMk/>
            <pc:sldMasterMk cId="1251368765" sldId="2147483660"/>
            <pc:sldLayoutMk cId="4164475237" sldId="2147483695"/>
          </pc:sldLayoutMkLst>
        </pc:sldLayoutChg>
        <pc:sldLayoutChg chg="del">
          <pc:chgData name="Monique Swanepoel" userId="ee0f72f5-127d-43b4-bee3-54058faa14a3" providerId="ADAL" clId="{0BB70A82-80D9-4EC3-B97F-15C8BD3837A1}" dt="2022-05-30T16:28:32.610" v="984" actId="47"/>
          <pc:sldLayoutMkLst>
            <pc:docMk/>
            <pc:sldMasterMk cId="1251368765" sldId="2147483660"/>
            <pc:sldLayoutMk cId="2971788185" sldId="2147483696"/>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43E9807-1CB2-4A88-B0CA-44F0975A97DF}" type="datetimeFigureOut">
              <a:rPr lang="en-US" smtClean="0"/>
              <a:t>6/6/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58CB16E-3EDD-4252-A4A7-B4FB185F9D91}" type="slidenum">
              <a:rPr lang="en-US" smtClean="0"/>
              <a:t>‹#›</a:t>
            </a:fld>
            <a:endParaRPr lang="en-US" dirty="0"/>
          </a:p>
        </p:txBody>
      </p:sp>
    </p:spTree>
    <p:extLst>
      <p:ext uri="{BB962C8B-B14F-4D97-AF65-F5344CB8AC3E}">
        <p14:creationId xmlns:p14="http://schemas.microsoft.com/office/powerpoint/2010/main" val="7473629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What if you could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operate your assets more sustainably and safely,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ttract and retain talent by providing a responsive, immersive and purposeful environment</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reduce your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opex</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endParaRPr lang="en-US" dirty="0"/>
          </a:p>
        </p:txBody>
      </p:sp>
      <p:sp>
        <p:nvSpPr>
          <p:cNvPr id="4" name="Slide Number Placeholder 3"/>
          <p:cNvSpPr>
            <a:spLocks noGrp="1"/>
          </p:cNvSpPr>
          <p:nvPr>
            <p:ph type="sldNum" sz="quarter" idx="5"/>
          </p:nvPr>
        </p:nvSpPr>
        <p:spPr/>
        <p:txBody>
          <a:bodyPr/>
          <a:lstStyle/>
          <a:p>
            <a:fld id="{658CB16E-3EDD-4252-A4A7-B4FB185F9D91}" type="slidenum">
              <a:rPr lang="en-US" smtClean="0"/>
              <a:t>1</a:t>
            </a:fld>
            <a:endParaRPr lang="en-US" dirty="0"/>
          </a:p>
        </p:txBody>
      </p:sp>
    </p:spTree>
    <p:extLst>
      <p:ext uri="{BB962C8B-B14F-4D97-AF65-F5344CB8AC3E}">
        <p14:creationId xmlns:p14="http://schemas.microsoft.com/office/powerpoint/2010/main" val="4214309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Let’s take a tour of what is looks like.</a:t>
            </a: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Visualization – an intuitive and high-fidelity model of the reality; this has to be easy to use, immersive and responsive. Accuracy down to the millimeter, and complete with access to all your data through this interface.</a:t>
            </a: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Critically, as we have observed, 3D is not sufficient to mobilize the workforce at full scale</a:t>
            </a: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2D P&amp;ID is a common interface, that makes it “less scary” to start working digitally. How does one do that</a:t>
            </a: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Well, we take the experience today (P&amp;ID) and enrich it will ALL the data that engineers use. Real-time feeds from DCS, simulation, analytics, ERP and historians – all in one place. And we make it as EASY to use as possible.</a:t>
            </a: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engineers actually like not having to access 10+ systems on a day to day basis. In the software business, we call this “user adoption”.</a:t>
            </a:r>
          </a:p>
          <a:p>
            <a:pPr marL="342900" marR="0" lvl="0" indent="-342900">
              <a:lnSpc>
                <a:spcPct val="107000"/>
              </a:lnSpc>
              <a:spcBef>
                <a:spcPts val="0"/>
              </a:spcBef>
              <a:spcAft>
                <a:spcPts val="80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This is underpinned by a complete dataset that represents your underlying set of systems, some time sin the dozens, sometimes more than a hundred. We construct an accessible data model that can be navigated easily, and workflows can be built on top of this data.</a:t>
            </a:r>
          </a:p>
          <a:p>
            <a:endParaRPr lang="en-US" dirty="0"/>
          </a:p>
          <a:p>
            <a:endParaRPr lang="en-US" dirty="0"/>
          </a:p>
        </p:txBody>
      </p:sp>
      <p:sp>
        <p:nvSpPr>
          <p:cNvPr id="4" name="Slide Number Placeholder 3"/>
          <p:cNvSpPr>
            <a:spLocks noGrp="1"/>
          </p:cNvSpPr>
          <p:nvPr>
            <p:ph type="sldNum" sz="quarter" idx="5"/>
          </p:nvPr>
        </p:nvSpPr>
        <p:spPr/>
        <p:txBody>
          <a:bodyPr/>
          <a:lstStyle/>
          <a:p>
            <a:fld id="{658CB16E-3EDD-4252-A4A7-B4FB185F9D91}" type="slidenum">
              <a:rPr lang="en-US" smtClean="0"/>
              <a:t>10</a:t>
            </a:fld>
            <a:endParaRPr lang="en-US" dirty="0"/>
          </a:p>
        </p:txBody>
      </p:sp>
    </p:spTree>
    <p:extLst>
      <p:ext uri="{BB962C8B-B14F-4D97-AF65-F5344CB8AC3E}">
        <p14:creationId xmlns:p14="http://schemas.microsoft.com/office/powerpoint/2010/main" val="16139899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Let’s take a tour of what is looks like.</a:t>
            </a: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Visualization – an intuitive and high-fidelity model of the reality; this has to be easy to use, immersive and responsive. Accuracy down to the millimeter, and complete with access to all your data through this interface.</a:t>
            </a: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Critically, as we have observed, 3D is not sufficient to mobilize the workforce at full scale</a:t>
            </a: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2D P&amp;ID is a common interface, that makes it “less scary” to start working digitally. How does one do that</a:t>
            </a: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Well, we take the experience today (P&amp;ID) and enrich it will ALL the data that engineers use. Real-time feeds from DCS, simulation, analytics, ERP and historians – all in one place. And we make it as EASY to use as possible.</a:t>
            </a: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engineers actually like not having to access 10+ systems on a day to day basis. In the software business, we call this “user adoption”.</a:t>
            </a:r>
          </a:p>
          <a:p>
            <a:pPr marL="342900" marR="0" lvl="0" indent="-342900">
              <a:lnSpc>
                <a:spcPct val="107000"/>
              </a:lnSpc>
              <a:spcBef>
                <a:spcPts val="0"/>
              </a:spcBef>
              <a:spcAft>
                <a:spcPts val="80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This is underpinned by a complete dataset that represents your underlying set of systems, some time sin the dozens, sometimes more than a hundred. We construct an accessible data model that can be navigated easily, and workflows can be built on top of this data.</a:t>
            </a:r>
          </a:p>
          <a:p>
            <a:endParaRPr lang="en-US" dirty="0"/>
          </a:p>
          <a:p>
            <a:endParaRPr lang="en-US" dirty="0"/>
          </a:p>
        </p:txBody>
      </p:sp>
      <p:sp>
        <p:nvSpPr>
          <p:cNvPr id="4" name="Slide Number Placeholder 3"/>
          <p:cNvSpPr>
            <a:spLocks noGrp="1"/>
          </p:cNvSpPr>
          <p:nvPr>
            <p:ph type="sldNum" sz="quarter" idx="5"/>
          </p:nvPr>
        </p:nvSpPr>
        <p:spPr/>
        <p:txBody>
          <a:bodyPr/>
          <a:lstStyle/>
          <a:p>
            <a:fld id="{658CB16E-3EDD-4252-A4A7-B4FB185F9D91}" type="slidenum">
              <a:rPr lang="en-US" smtClean="0"/>
              <a:t>11</a:t>
            </a:fld>
            <a:endParaRPr lang="en-US" dirty="0"/>
          </a:p>
        </p:txBody>
      </p:sp>
    </p:spTree>
    <p:extLst>
      <p:ext uri="{BB962C8B-B14F-4D97-AF65-F5344CB8AC3E}">
        <p14:creationId xmlns:p14="http://schemas.microsoft.com/office/powerpoint/2010/main" val="10330164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PTM</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Proactive technical monitoring – PTM is one example</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Engineers access data trends and the digital twin identifies which are they should focus on, with rulesets and notifications that are setup to trigger workflows.</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Statistics on historical bad actors are supplied as well</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is allows the engineers to focus their time on the most important issues; rather than wading through the data to determine what should have higher criticality. </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en they can navigate and collaborate in the digital twin to coordinate actions to be taken</a:t>
            </a:r>
          </a:p>
          <a:p>
            <a:endParaRPr lang="en-US" dirty="0"/>
          </a:p>
        </p:txBody>
      </p:sp>
      <p:sp>
        <p:nvSpPr>
          <p:cNvPr id="4" name="Slide Number Placeholder 3"/>
          <p:cNvSpPr>
            <a:spLocks noGrp="1"/>
          </p:cNvSpPr>
          <p:nvPr>
            <p:ph type="sldNum" sz="quarter" idx="5"/>
          </p:nvPr>
        </p:nvSpPr>
        <p:spPr/>
        <p:txBody>
          <a:bodyPr/>
          <a:lstStyle/>
          <a:p>
            <a:fld id="{658CB16E-3EDD-4252-A4A7-B4FB185F9D91}" type="slidenum">
              <a:rPr lang="en-US" smtClean="0"/>
              <a:t>12</a:t>
            </a:fld>
            <a:endParaRPr lang="en-US" dirty="0"/>
          </a:p>
        </p:txBody>
      </p:sp>
    </p:spTree>
    <p:extLst>
      <p:ext uri="{BB962C8B-B14F-4D97-AF65-F5344CB8AC3E}">
        <p14:creationId xmlns:p14="http://schemas.microsoft.com/office/powerpoint/2010/main" val="6412308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PTM</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Proactive technical monitoring – PTM is one example</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Engineers access data trends and the digital twin identifies which area they should focus on, with rulesets and notifications that are setup to trigger workflows.</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Statistics on historical bad actors are supplied as well</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is allows the engineers to focus their time on the most important issues; rather than wading through the data to determine what should have higher criticality. </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en they can navigate and collaborate in the digital twin to coordinate actions to be taken</a:t>
            </a:r>
          </a:p>
          <a:p>
            <a:endParaRPr lang="en-US" dirty="0"/>
          </a:p>
        </p:txBody>
      </p:sp>
      <p:sp>
        <p:nvSpPr>
          <p:cNvPr id="4" name="Slide Number Placeholder 3"/>
          <p:cNvSpPr>
            <a:spLocks noGrp="1"/>
          </p:cNvSpPr>
          <p:nvPr>
            <p:ph type="sldNum" sz="quarter" idx="5"/>
          </p:nvPr>
        </p:nvSpPr>
        <p:spPr/>
        <p:txBody>
          <a:bodyPr/>
          <a:lstStyle/>
          <a:p>
            <a:fld id="{658CB16E-3EDD-4252-A4A7-B4FB185F9D91}" type="slidenum">
              <a:rPr lang="en-US" smtClean="0"/>
              <a:t>13</a:t>
            </a:fld>
            <a:endParaRPr lang="en-US" dirty="0"/>
          </a:p>
        </p:txBody>
      </p:sp>
    </p:spTree>
    <p:extLst>
      <p:ext uri="{BB962C8B-B14F-4D97-AF65-F5344CB8AC3E}">
        <p14:creationId xmlns:p14="http://schemas.microsoft.com/office/powerpoint/2010/main" val="38659497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PTM</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Proactive technical monitoring – PTM is one example</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Engineers access data trends and the digital twin identifies which are they should focus on, with rulesets and notifications that are setup to trigger workflows.</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Statistics on historical bad actors are supplied as well</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is allows the engineers to focus their time on the most important issues; rather than wading through the data to determine what should have higher criticality. </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en they can navigate and collaborate in the digital twin to coordinate actions to be taken</a:t>
            </a:r>
          </a:p>
          <a:p>
            <a:endParaRPr lang="en-US" dirty="0"/>
          </a:p>
        </p:txBody>
      </p:sp>
      <p:sp>
        <p:nvSpPr>
          <p:cNvPr id="4" name="Slide Number Placeholder 3"/>
          <p:cNvSpPr>
            <a:spLocks noGrp="1"/>
          </p:cNvSpPr>
          <p:nvPr>
            <p:ph type="sldNum" sz="quarter" idx="5"/>
          </p:nvPr>
        </p:nvSpPr>
        <p:spPr/>
        <p:txBody>
          <a:bodyPr/>
          <a:lstStyle/>
          <a:p>
            <a:fld id="{658CB16E-3EDD-4252-A4A7-B4FB185F9D91}" type="slidenum">
              <a:rPr lang="en-US" smtClean="0"/>
              <a:t>14</a:t>
            </a:fld>
            <a:endParaRPr lang="en-US" dirty="0"/>
          </a:p>
        </p:txBody>
      </p:sp>
    </p:spTree>
    <p:extLst>
      <p:ext uri="{BB962C8B-B14F-4D97-AF65-F5344CB8AC3E}">
        <p14:creationId xmlns:p14="http://schemas.microsoft.com/office/powerpoint/2010/main" val="36960970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Only when data and workflows like this converge into one environment </a:t>
            </a:r>
            <a:r>
              <a:rPr lang="en-US" sz="1800" b="1" u="sng" dirty="0">
                <a:effectLst/>
                <a:latin typeface="Calibri" panose="020F0502020204030204" pitchFamily="34" charset="0"/>
                <a:ea typeface="Calibri" panose="020F0502020204030204" pitchFamily="34" charset="0"/>
                <a:cs typeface="Times New Roman" panose="02020603050405020304" pitchFamily="18" charset="0"/>
              </a:rPr>
              <a:t>and are used on a day-to-day basis</a:t>
            </a:r>
            <a:r>
              <a:rPr lang="en-US" sz="1800" dirty="0">
                <a:effectLst/>
                <a:latin typeface="Calibri" panose="020F0502020204030204" pitchFamily="34" charset="0"/>
                <a:ea typeface="Calibri" panose="020F0502020204030204" pitchFamily="34" charset="0"/>
                <a:cs typeface="Times New Roman" panose="02020603050405020304" pitchFamily="18" charset="0"/>
              </a:rPr>
              <a:t>, can you argue that you are making a change with a digital strategy. That gives meaning to this fancy marketing picture.</a:t>
            </a:r>
          </a:p>
        </p:txBody>
      </p:sp>
      <p:sp>
        <p:nvSpPr>
          <p:cNvPr id="4" name="Slide Number Placeholder 3"/>
          <p:cNvSpPr>
            <a:spLocks noGrp="1"/>
          </p:cNvSpPr>
          <p:nvPr>
            <p:ph type="sldNum" sz="quarter" idx="5"/>
          </p:nvPr>
        </p:nvSpPr>
        <p:spPr/>
        <p:txBody>
          <a:bodyPr/>
          <a:lstStyle/>
          <a:p>
            <a:fld id="{658CB16E-3EDD-4252-A4A7-B4FB185F9D91}" type="slidenum">
              <a:rPr lang="en-US" smtClean="0"/>
              <a:t>15</a:t>
            </a:fld>
            <a:endParaRPr lang="en-US" dirty="0"/>
          </a:p>
        </p:txBody>
      </p:sp>
    </p:spTree>
    <p:extLst>
      <p:ext uri="{BB962C8B-B14F-4D97-AF65-F5344CB8AC3E}">
        <p14:creationId xmlns:p14="http://schemas.microsoft.com/office/powerpoint/2010/main" val="11443663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So in essence we then have the industrial work surface, the one environment that drives the business processes, engagement and analytics. The human is at the center.</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Critically, this system must touch on ALL the disciplines to enable digital success.</a:t>
            </a:r>
          </a:p>
        </p:txBody>
      </p:sp>
      <p:sp>
        <p:nvSpPr>
          <p:cNvPr id="4" name="Slide Number Placeholder 3"/>
          <p:cNvSpPr>
            <a:spLocks noGrp="1"/>
          </p:cNvSpPr>
          <p:nvPr>
            <p:ph type="sldNum" sz="quarter" idx="5"/>
          </p:nvPr>
        </p:nvSpPr>
        <p:spPr/>
        <p:txBody>
          <a:bodyPr/>
          <a:lstStyle/>
          <a:p>
            <a:fld id="{8472F398-7D44-4603-A74C-9F562E7FC5E5}" type="slidenum">
              <a:rPr lang="en-GB" smtClean="0"/>
              <a:t>16</a:t>
            </a:fld>
            <a:endParaRPr lang="en-GB" dirty="0"/>
          </a:p>
        </p:txBody>
      </p:sp>
    </p:spTree>
    <p:extLst>
      <p:ext uri="{BB962C8B-B14F-4D97-AF65-F5344CB8AC3E}">
        <p14:creationId xmlns:p14="http://schemas.microsoft.com/office/powerpoint/2010/main" val="32118461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Looking at the operating model, I will state 3 strategic focus areas</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Focus on true business process integration. How is it true, by closing the loop. That’s what we are working on today</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en, we are not monolithic. The industry has realized, and we agree, that this is team work, and progress is not well-served by software monoliths. That’s why we focus on openness and interoperability in our strategy, so operators can pick for example the data science partners they want.</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nd lastly it must be really easy to setup and scale connectivity. We invest a lot in this 8-12 weeks for an asset is now a reality.</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When we do all this, we enable that new operating model that scale across fleets of assets, in a remote operating environment. </a:t>
            </a:r>
          </a:p>
          <a:p>
            <a:endParaRPr lang="en-US" dirty="0"/>
          </a:p>
        </p:txBody>
      </p:sp>
      <p:sp>
        <p:nvSpPr>
          <p:cNvPr id="4" name="Slide Number Placeholder 3"/>
          <p:cNvSpPr>
            <a:spLocks noGrp="1"/>
          </p:cNvSpPr>
          <p:nvPr>
            <p:ph type="sldNum" sz="quarter" idx="5"/>
          </p:nvPr>
        </p:nvSpPr>
        <p:spPr/>
        <p:txBody>
          <a:bodyPr/>
          <a:lstStyle/>
          <a:p>
            <a:fld id="{658CB16E-3EDD-4252-A4A7-B4FB185F9D91}" type="slidenum">
              <a:rPr lang="en-US" smtClean="0"/>
              <a:t>17</a:t>
            </a:fld>
            <a:endParaRPr lang="en-US" dirty="0"/>
          </a:p>
        </p:txBody>
      </p:sp>
    </p:spTree>
    <p:extLst>
      <p:ext uri="{BB962C8B-B14F-4D97-AF65-F5344CB8AC3E}">
        <p14:creationId xmlns:p14="http://schemas.microsoft.com/office/powerpoint/2010/main" val="8713108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s for the results, here are some examples. I’ll leave you to read some of these numbers yourself. However, I will emphasize one thing:</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Let’s not get hung up on the exactness of this; each asset has a different environment</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ese were achieved back in 2020 – 18 months ago.</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important thing is that when we implement this strategy, we see improvement in efficiencies across all these areas. This goes back to embedding digital meaningfully.</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is is just the beginning; the actual gains have a much higher potential</a:t>
            </a:r>
          </a:p>
          <a:p>
            <a:endParaRPr lang="en-US" dirty="0"/>
          </a:p>
        </p:txBody>
      </p:sp>
      <p:sp>
        <p:nvSpPr>
          <p:cNvPr id="4" name="Slide Number Placeholder 3"/>
          <p:cNvSpPr>
            <a:spLocks noGrp="1"/>
          </p:cNvSpPr>
          <p:nvPr>
            <p:ph type="sldNum" sz="quarter" idx="5"/>
          </p:nvPr>
        </p:nvSpPr>
        <p:spPr/>
        <p:txBody>
          <a:bodyPr/>
          <a:lstStyle/>
          <a:p>
            <a:fld id="{658CB16E-3EDD-4252-A4A7-B4FB185F9D91}" type="slidenum">
              <a:rPr lang="en-US" smtClean="0"/>
              <a:t>18</a:t>
            </a:fld>
            <a:endParaRPr lang="en-US" dirty="0"/>
          </a:p>
        </p:txBody>
      </p:sp>
    </p:spTree>
    <p:extLst>
      <p:ext uri="{BB962C8B-B14F-4D97-AF65-F5344CB8AC3E}">
        <p14:creationId xmlns:p14="http://schemas.microsoft.com/office/powerpoint/2010/main" val="6336729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s someone representing the digital tech community, I am happy to report that we’ve moved forward. I have found myself in many meetings explaining WHY this is important, or listening patiently to how “we’ve already done this” or “what’s the value”.</a:t>
            </a:r>
          </a:p>
          <a:p>
            <a:pPr marL="0" marR="0">
              <a:lnSpc>
                <a:spcPct val="107000"/>
              </a:lnSpc>
              <a:spcBef>
                <a:spcPts val="0"/>
              </a:spcBef>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Now, the conversation has moved from why to how. We have seen the industry achieve agreement in the sense that we are now operating on a call to action. As a result the conversations are about the how.</a:t>
            </a:r>
          </a:p>
          <a:p>
            <a:endParaRPr lang="en-US" dirty="0"/>
          </a:p>
        </p:txBody>
      </p:sp>
      <p:sp>
        <p:nvSpPr>
          <p:cNvPr id="4" name="Slide Number Placeholder 3"/>
          <p:cNvSpPr>
            <a:spLocks noGrp="1"/>
          </p:cNvSpPr>
          <p:nvPr>
            <p:ph type="sldNum" sz="quarter" idx="5"/>
          </p:nvPr>
        </p:nvSpPr>
        <p:spPr/>
        <p:txBody>
          <a:bodyPr/>
          <a:lstStyle/>
          <a:p>
            <a:fld id="{658CB16E-3EDD-4252-A4A7-B4FB185F9D91}" type="slidenum">
              <a:rPr lang="en-US" smtClean="0"/>
              <a:t>19</a:t>
            </a:fld>
            <a:endParaRPr lang="en-US" dirty="0"/>
          </a:p>
        </p:txBody>
      </p:sp>
    </p:spTree>
    <p:extLst>
      <p:ext uri="{BB962C8B-B14F-4D97-AF65-F5344CB8AC3E}">
        <p14:creationId xmlns:p14="http://schemas.microsoft.com/office/powerpoint/2010/main" val="40356863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How about returning 30,000 hours labor hours to the business in a year?</a:t>
            </a:r>
          </a:p>
          <a:p>
            <a:endParaRPr lang="en-US" dirty="0"/>
          </a:p>
        </p:txBody>
      </p:sp>
      <p:sp>
        <p:nvSpPr>
          <p:cNvPr id="4" name="Slide Number Placeholder 3"/>
          <p:cNvSpPr>
            <a:spLocks noGrp="1"/>
          </p:cNvSpPr>
          <p:nvPr>
            <p:ph type="sldNum" sz="quarter" idx="5"/>
          </p:nvPr>
        </p:nvSpPr>
        <p:spPr/>
        <p:txBody>
          <a:bodyPr/>
          <a:lstStyle/>
          <a:p>
            <a:fld id="{658CB16E-3EDD-4252-A4A7-B4FB185F9D91}" type="slidenum">
              <a:rPr lang="en-US" smtClean="0"/>
              <a:t>2</a:t>
            </a:fld>
            <a:endParaRPr lang="en-US" dirty="0"/>
          </a:p>
        </p:txBody>
      </p:sp>
    </p:spTree>
    <p:extLst>
      <p:ext uri="{BB962C8B-B14F-4D97-AF65-F5344CB8AC3E}">
        <p14:creationId xmlns:p14="http://schemas.microsoft.com/office/powerpoint/2010/main" val="247135183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last thing to note on is the future. AT KDI, we see that the future of energy systems is in the integration.</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his is an example from offshore Ireland. What we see here is a complex setup of offshore wind, hydrogen, LNG import and gas back to onshore distribution. The common denominator is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interdepencence</a:t>
            </a:r>
            <a:r>
              <a:rPr lang="en-US" sz="1800" dirty="0">
                <a:effectLst/>
                <a:latin typeface="Calibri" panose="020F0502020204030204" pitchFamily="34" charset="0"/>
                <a:ea typeface="Calibri" panose="020F0502020204030204" pitchFamily="34" charset="0"/>
                <a:cs typeface="Times New Roman" panose="02020603050405020304" pitchFamily="18" charset="0"/>
              </a:rPr>
              <a:t>; if one unit is impacted, the whole system is impacted.</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new skills that will be required to support energy systems like this will focus more on understanding and operating the interdependencies. </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We believe that a digital infrastructure is essential to achieve this.</a:t>
            </a:r>
          </a:p>
        </p:txBody>
      </p:sp>
      <p:sp>
        <p:nvSpPr>
          <p:cNvPr id="4" name="Slide Number Placeholder 3"/>
          <p:cNvSpPr>
            <a:spLocks noGrp="1"/>
          </p:cNvSpPr>
          <p:nvPr>
            <p:ph type="sldNum" sz="quarter" idx="5"/>
          </p:nvPr>
        </p:nvSpPr>
        <p:spPr/>
        <p:txBody>
          <a:bodyPr/>
          <a:lstStyle/>
          <a:p>
            <a:fld id="{8472F398-7D44-4603-A74C-9F562E7FC5E5}" type="slidenum">
              <a:rPr lang="en-GB" smtClean="0"/>
              <a:t>20</a:t>
            </a:fld>
            <a:endParaRPr lang="en-GB"/>
          </a:p>
        </p:txBody>
      </p:sp>
    </p:spTree>
    <p:extLst>
      <p:ext uri="{BB962C8B-B14F-4D97-AF65-F5344CB8AC3E}">
        <p14:creationId xmlns:p14="http://schemas.microsoft.com/office/powerpoint/2010/main" val="16516777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In conclusion, and in the language of digital twins: this is no longer a “what if scenario”.</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With digital twins, you can:</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Operate your assets more sustainably and safely</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You can attract and retain talent, offering a more responsive and purposeful work environment</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Reduce your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Opex</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658CB16E-3EDD-4252-A4A7-B4FB185F9D91}" type="slidenum">
              <a:rPr lang="en-US" smtClean="0"/>
              <a:t>21</a:t>
            </a:fld>
            <a:endParaRPr lang="en-US" dirty="0"/>
          </a:p>
        </p:txBody>
      </p:sp>
    </p:spTree>
    <p:extLst>
      <p:ext uri="{BB962C8B-B14F-4D97-AF65-F5344CB8AC3E}">
        <p14:creationId xmlns:p14="http://schemas.microsoft.com/office/powerpoint/2010/main" val="32230468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50" dirty="0"/>
          </a:p>
        </p:txBody>
      </p:sp>
      <p:sp>
        <p:nvSpPr>
          <p:cNvPr id="4" name="Slide Number Placeholder 3"/>
          <p:cNvSpPr>
            <a:spLocks noGrp="1"/>
          </p:cNvSpPr>
          <p:nvPr>
            <p:ph type="sldNum" sz="quarter" idx="5"/>
          </p:nvPr>
        </p:nvSpPr>
        <p:spPr/>
        <p:txBody>
          <a:bodyPr/>
          <a:lstStyle/>
          <a:p>
            <a:fld id="{8472F398-7D44-4603-A74C-9F562E7FC5E5}" type="slidenum">
              <a:rPr lang="en-GB" smtClean="0"/>
              <a:t>22</a:t>
            </a:fld>
            <a:endParaRPr lang="en-GB" dirty="0"/>
          </a:p>
        </p:txBody>
      </p:sp>
    </p:spTree>
    <p:extLst>
      <p:ext uri="{BB962C8B-B14F-4D97-AF65-F5344CB8AC3E}">
        <p14:creationId xmlns:p14="http://schemas.microsoft.com/office/powerpoint/2010/main" val="17949026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My name is Haavard Oestensen, and I am with Kongsberg digital. We digitalize the world’s industries, for better performance today and a better tomorrow. I am here to talk about how digital twins can help improve performance and improve the operating model that supports your upstream assets.</a:t>
            </a:r>
          </a:p>
          <a:p>
            <a:endParaRPr lang="en-US" dirty="0"/>
          </a:p>
        </p:txBody>
      </p:sp>
      <p:sp>
        <p:nvSpPr>
          <p:cNvPr id="4" name="Slide Number Placeholder 3"/>
          <p:cNvSpPr>
            <a:spLocks noGrp="1"/>
          </p:cNvSpPr>
          <p:nvPr>
            <p:ph type="sldNum" sz="quarter" idx="5"/>
          </p:nvPr>
        </p:nvSpPr>
        <p:spPr/>
        <p:txBody>
          <a:bodyPr/>
          <a:lstStyle/>
          <a:p>
            <a:fld id="{658CB16E-3EDD-4252-A4A7-B4FB185F9D91}" type="slidenum">
              <a:rPr lang="en-US" smtClean="0"/>
              <a:t>3</a:t>
            </a:fld>
            <a:endParaRPr lang="en-US" dirty="0"/>
          </a:p>
        </p:txBody>
      </p:sp>
    </p:spTree>
    <p:extLst>
      <p:ext uri="{BB962C8B-B14F-4D97-AF65-F5344CB8AC3E}">
        <p14:creationId xmlns:p14="http://schemas.microsoft.com/office/powerpoint/2010/main" val="3783738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First, let’s consider our options at a high level. If we look at the challenge from a conventional point of view, we can</a:t>
            </a:r>
          </a:p>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Decommission and destroy facilities that don’t perform, but we probably won’t do that</a:t>
            </a:r>
          </a:p>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We can operate them at a minimum, or business as usual – at a return dictated by the commodity prices – or at the mercy of rising input prices</a:t>
            </a:r>
          </a:p>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Then - We can invest to improve the infrastructure, i.e. </a:t>
            </a:r>
          </a:p>
          <a:p>
            <a:pPr marL="742950" marR="0" lvl="1" indent="-285750">
              <a:lnSpc>
                <a:spcPct val="107000"/>
              </a:lnSpc>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Calibri" panose="020F0502020204030204" pitchFamily="34" charset="0"/>
                <a:cs typeface="Times New Roman" panose="02020603050405020304" pitchFamily="18" charset="0"/>
              </a:rPr>
              <a:t>tiebacks to existing platforms</a:t>
            </a:r>
          </a:p>
          <a:p>
            <a:pPr marL="742950" marR="0" lvl="1" indent="-285750">
              <a:lnSpc>
                <a:spcPct val="107000"/>
              </a:lnSpc>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Calibri" panose="020F0502020204030204" pitchFamily="34" charset="0"/>
                <a:cs typeface="Times New Roman" panose="02020603050405020304" pitchFamily="18" charset="0"/>
              </a:rPr>
              <a:t>debottlenecking projects</a:t>
            </a:r>
          </a:p>
          <a:p>
            <a:pPr marL="742950" marR="0" lvl="1" indent="-285750">
              <a:lnSpc>
                <a:spcPct val="107000"/>
              </a:lnSpc>
              <a:spcBef>
                <a:spcPts val="0"/>
              </a:spcBef>
              <a:spcAft>
                <a:spcPts val="800"/>
              </a:spcAft>
              <a:buFont typeface="Courier New" panose="02070309020205020404" pitchFamily="49" charset="0"/>
              <a:buChar char="o"/>
            </a:pPr>
            <a:r>
              <a:rPr lang="en-US" sz="1100" dirty="0">
                <a:effectLst/>
                <a:latin typeface="Calibri" panose="020F0502020204030204" pitchFamily="34" charset="0"/>
                <a:ea typeface="Calibri" panose="020F0502020204030204" pitchFamily="34" charset="0"/>
                <a:cs typeface="Times New Roman" panose="02020603050405020304" pitchFamily="18" charset="0"/>
              </a:rPr>
              <a:t>subsea compression, and so on – could work, </a:t>
            </a:r>
          </a:p>
          <a:p>
            <a:pPr marL="0" marR="0">
              <a:lnSpc>
                <a:spcPct val="107000"/>
              </a:lnSpc>
              <a:spcBef>
                <a:spcPts val="0"/>
              </a:spcBef>
              <a:spcAft>
                <a:spcPts val="80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However, with these options we are operating at the mercy of volatile commodity and input prices</a:t>
            </a:r>
          </a:p>
          <a:p>
            <a:pPr marL="0" marR="0">
              <a:lnSpc>
                <a:spcPct val="107000"/>
              </a:lnSpc>
              <a:spcBef>
                <a:spcPts val="0"/>
              </a:spcBef>
              <a:spcAft>
                <a:spcPts val="80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Then, in relative terms a much lower cost investment would be digital. So allow me to introduce the digital twin powered operating model:</a:t>
            </a:r>
          </a:p>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Digital collaboration</a:t>
            </a:r>
          </a:p>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Integrated business processes with remote operations</a:t>
            </a:r>
          </a:p>
          <a:p>
            <a:pPr marL="342900" marR="0" lvl="0" indent="-342900">
              <a:lnSpc>
                <a:spcPct val="107000"/>
              </a:lnSpc>
              <a:spcBef>
                <a:spcPts val="0"/>
              </a:spcBef>
              <a:spcAft>
                <a:spcPts val="80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Leveraging scalable simulation and analytics to drive performance</a:t>
            </a:r>
          </a:p>
          <a:p>
            <a:r>
              <a:rPr lang="en-US" sz="1100" dirty="0">
                <a:effectLst/>
                <a:latin typeface="Calibri" panose="020F0502020204030204" pitchFamily="34" charset="0"/>
                <a:ea typeface="Calibri" panose="020F0502020204030204" pitchFamily="34" charset="0"/>
                <a:cs typeface="Times New Roman" panose="02020603050405020304" pitchFamily="18" charset="0"/>
              </a:rPr>
              <a:t>Together, this lets operators increase operating efficiencies, lower costs and improve ways of working.</a:t>
            </a:r>
            <a:endParaRPr lang="en-US" dirty="0"/>
          </a:p>
        </p:txBody>
      </p:sp>
      <p:sp>
        <p:nvSpPr>
          <p:cNvPr id="4" name="Slide Number Placeholder 3"/>
          <p:cNvSpPr>
            <a:spLocks noGrp="1"/>
          </p:cNvSpPr>
          <p:nvPr>
            <p:ph type="sldNum" sz="quarter" idx="5"/>
          </p:nvPr>
        </p:nvSpPr>
        <p:spPr/>
        <p:txBody>
          <a:bodyPr/>
          <a:lstStyle/>
          <a:p>
            <a:fld id="{658CB16E-3EDD-4252-A4A7-B4FB185F9D91}" type="slidenum">
              <a:rPr lang="en-US" smtClean="0"/>
              <a:t>4</a:t>
            </a:fld>
            <a:endParaRPr lang="en-US" dirty="0"/>
          </a:p>
        </p:txBody>
      </p:sp>
    </p:spTree>
    <p:extLst>
      <p:ext uri="{BB962C8B-B14F-4D97-AF65-F5344CB8AC3E}">
        <p14:creationId xmlns:p14="http://schemas.microsoft.com/office/powerpoint/2010/main" val="287385776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t KDI, we are deeply engaged in the biggest challenges in the industry. Our observation from working with the industry is that there is an emerging consensus on the top level items to handle. </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Operators are looking to maximize utilization of existing facilities: Fewer topsides development and more tiebacks, subsea compression etc.</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Reduce the operating costs, but sustainably. We help with energy consumption optimization coupled with production optimization to improve performance and make operations greener</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We work on the operating model, reducing dependency on onsite personnel, enabling streamlined digitally enabled operating models, </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Lastly, we help meaningfully embedding sustainability into operations. Specifically, digital twins help with emissions reduction, energy management and transparency</a:t>
            </a:r>
          </a:p>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result is a redefined operating model that is more efficient and sustainable, more reliance on remote support and expertise, with safety, performance and sustainability at the core.</a:t>
            </a:r>
          </a:p>
          <a:p>
            <a:endParaRPr lang="en-US" dirty="0"/>
          </a:p>
        </p:txBody>
      </p:sp>
      <p:sp>
        <p:nvSpPr>
          <p:cNvPr id="4" name="Slide Number Placeholder 3"/>
          <p:cNvSpPr>
            <a:spLocks noGrp="1"/>
          </p:cNvSpPr>
          <p:nvPr>
            <p:ph type="sldNum" sz="quarter" idx="5"/>
          </p:nvPr>
        </p:nvSpPr>
        <p:spPr/>
        <p:txBody>
          <a:bodyPr/>
          <a:lstStyle/>
          <a:p>
            <a:fld id="{658CB16E-3EDD-4252-A4A7-B4FB185F9D91}" type="slidenum">
              <a:rPr lang="en-US" smtClean="0"/>
              <a:t>5</a:t>
            </a:fld>
            <a:endParaRPr lang="en-US" dirty="0"/>
          </a:p>
        </p:txBody>
      </p:sp>
    </p:spTree>
    <p:extLst>
      <p:ext uri="{BB962C8B-B14F-4D97-AF65-F5344CB8AC3E}">
        <p14:creationId xmlns:p14="http://schemas.microsoft.com/office/powerpoint/2010/main" val="25525142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A digital twin, as we term it, is one environment that everyone in the organization uses. It has</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Industrial data from all of your systems available</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Intuitive 3D and 2D visualization and workflows</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Embedded simulation and analytics capabilities</a:t>
            </a:r>
          </a:p>
        </p:txBody>
      </p:sp>
      <p:sp>
        <p:nvSpPr>
          <p:cNvPr id="4" name="Slide Number Placeholder 3"/>
          <p:cNvSpPr>
            <a:spLocks noGrp="1"/>
          </p:cNvSpPr>
          <p:nvPr>
            <p:ph type="sldNum" sz="quarter" idx="5"/>
          </p:nvPr>
        </p:nvSpPr>
        <p:spPr/>
        <p:txBody>
          <a:bodyPr/>
          <a:lstStyle/>
          <a:p>
            <a:fld id="{B302920E-B8A5-4F66-B7C3-4F29BB728A9A}" type="slidenum">
              <a:rPr lang="nb-NO" smtClean="0"/>
              <a:t>6</a:t>
            </a:fld>
            <a:endParaRPr lang="nb-NO"/>
          </a:p>
        </p:txBody>
      </p:sp>
    </p:spTree>
    <p:extLst>
      <p:ext uri="{BB962C8B-B14F-4D97-AF65-F5344CB8AC3E}">
        <p14:creationId xmlns:p14="http://schemas.microsoft.com/office/powerpoint/2010/main" val="12758548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Let’s take a tour of what is looks like.</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Visualization – an intuitive and high-fidelity model of the reality; this has to be easy to use, immersive and responsive. Accuracy down to the millimeter, and complete with access to all your data through this interface.</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Critically, as we have observed, 3D is not sufficient to mobilize the workforce at full scale</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2D P&amp;ID is a common interface, that makes it “less scary” to start working digitally. How does one do that</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Well, we take the experience today (P&amp;ID) and enrich it will ALL the data that engineers use. Real-time feeds from DCS, simulation, analytics, ERP and historians – all in one place. And we make it as EASY to use as possible.</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engineers actually like not having to access 10+ systems on a day to day basis. In the software business, we call this “user adoption”.</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is is underpinned by a complete dataset that represents your underlying set of systems, some time sin the dozens, sometimes more than a hundred. We construct an accessible data model that can be navigated easily, and workflows can be built on top of this data.</a:t>
            </a:r>
          </a:p>
          <a:p>
            <a:endParaRPr lang="en-US" dirty="0"/>
          </a:p>
        </p:txBody>
      </p:sp>
      <p:sp>
        <p:nvSpPr>
          <p:cNvPr id="4" name="Slide Number Placeholder 3"/>
          <p:cNvSpPr>
            <a:spLocks noGrp="1"/>
          </p:cNvSpPr>
          <p:nvPr>
            <p:ph type="sldNum" sz="quarter" idx="5"/>
          </p:nvPr>
        </p:nvSpPr>
        <p:spPr/>
        <p:txBody>
          <a:bodyPr/>
          <a:lstStyle/>
          <a:p>
            <a:fld id="{658CB16E-3EDD-4252-A4A7-B4FB185F9D91}" type="slidenum">
              <a:rPr lang="en-US" smtClean="0"/>
              <a:t>7</a:t>
            </a:fld>
            <a:endParaRPr lang="en-US" dirty="0"/>
          </a:p>
        </p:txBody>
      </p:sp>
    </p:spTree>
    <p:extLst>
      <p:ext uri="{BB962C8B-B14F-4D97-AF65-F5344CB8AC3E}">
        <p14:creationId xmlns:p14="http://schemas.microsoft.com/office/powerpoint/2010/main" val="233156002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Let’s take a tour of what is looks like.</a:t>
            </a: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Visualization – an intuitive and high-fidelity model of the reality; this has to be easy to use, immersive and responsive. Accuracy down to the millimeter, and complete with access to all your data through this interface.</a:t>
            </a: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Critically, as we have observed, 3D is not sufficient to mobilize the workforce at full scale</a:t>
            </a: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2D P&amp;ID is a common interface, that makes it “less scary” to start working digitally. How does one do that</a:t>
            </a: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Well, we take the experience today (P&amp;ID) and enrich it will ALL the data that engineers use. Real-time feeds from DCS, simulation, analytics, ERP and historians – all in one place. And we make it as EASY to use as possible.</a:t>
            </a: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engineers actually like not having to access 10+ systems on a day to day basis. In the software business, we call this “user adoption”.</a:t>
            </a:r>
          </a:p>
          <a:p>
            <a:pPr marL="342900" marR="0" lvl="0" indent="-342900">
              <a:lnSpc>
                <a:spcPct val="107000"/>
              </a:lnSpc>
              <a:spcBef>
                <a:spcPts val="0"/>
              </a:spcBef>
              <a:spcAft>
                <a:spcPts val="80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This is underpinned by a complete dataset that represents your underlying set of systems, some time sin the dozens, sometimes more than a hundred. We construct an accessible data model that can be navigated easily, and workflows can be built on top of this data.</a:t>
            </a:r>
          </a:p>
          <a:p>
            <a:endParaRPr lang="en-US" dirty="0"/>
          </a:p>
          <a:p>
            <a:endParaRPr lang="en-US" dirty="0"/>
          </a:p>
        </p:txBody>
      </p:sp>
      <p:sp>
        <p:nvSpPr>
          <p:cNvPr id="4" name="Slide Number Placeholder 3"/>
          <p:cNvSpPr>
            <a:spLocks noGrp="1"/>
          </p:cNvSpPr>
          <p:nvPr>
            <p:ph type="sldNum" sz="quarter" idx="5"/>
          </p:nvPr>
        </p:nvSpPr>
        <p:spPr/>
        <p:txBody>
          <a:bodyPr/>
          <a:lstStyle/>
          <a:p>
            <a:fld id="{658CB16E-3EDD-4252-A4A7-B4FB185F9D91}" type="slidenum">
              <a:rPr lang="en-US" smtClean="0"/>
              <a:t>8</a:t>
            </a:fld>
            <a:endParaRPr lang="en-US" dirty="0"/>
          </a:p>
        </p:txBody>
      </p:sp>
    </p:spTree>
    <p:extLst>
      <p:ext uri="{BB962C8B-B14F-4D97-AF65-F5344CB8AC3E}">
        <p14:creationId xmlns:p14="http://schemas.microsoft.com/office/powerpoint/2010/main" val="21024764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Let’s take a tour of what is looks like.</a:t>
            </a: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Visualization – an intuitive and high-fidelity model of the reality; this has to be easy to use, immersive and responsive. Accuracy down to the millimeter, and complete with access to all your data through this interface.</a:t>
            </a: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Critically, as we have observed, 3D is not sufficient to mobilize the workforce at full scale</a:t>
            </a: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2D P&amp;ID is a common interface, that makes it “less scary” to start working digitally. How does one do that</a:t>
            </a: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Well, we take the experience today (P&amp;ID) and enrich it will ALL the data that engineers use. Real-time feeds from DCS, simulation, analytics, ERP and historians – all in one place. And we make it as EASY to use as possible.</a:t>
            </a: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The engineers actually like not having to access 10+ systems on a day to day basis.</a:t>
            </a:r>
          </a:p>
          <a:p>
            <a:pPr marL="342900" marR="0" lvl="0" indent="-342900">
              <a:lnSpc>
                <a:spcPct val="107000"/>
              </a:lnSpc>
              <a:spcBef>
                <a:spcPts val="0"/>
              </a:spcBef>
              <a:spcAft>
                <a:spcPts val="80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This is underpinned by a complete dataset that represents your underlying set of systems, some time sin the dozens, sometimes more than a hundred. We construct an accessible data model that can be navigated easily, and workflows can be built on top of this data.</a:t>
            </a:r>
          </a:p>
          <a:p>
            <a:endParaRPr lang="en-US" dirty="0"/>
          </a:p>
          <a:p>
            <a:endParaRPr lang="en-US" dirty="0"/>
          </a:p>
        </p:txBody>
      </p:sp>
      <p:sp>
        <p:nvSpPr>
          <p:cNvPr id="4" name="Slide Number Placeholder 3"/>
          <p:cNvSpPr>
            <a:spLocks noGrp="1"/>
          </p:cNvSpPr>
          <p:nvPr>
            <p:ph type="sldNum" sz="quarter" idx="5"/>
          </p:nvPr>
        </p:nvSpPr>
        <p:spPr/>
        <p:txBody>
          <a:bodyPr/>
          <a:lstStyle/>
          <a:p>
            <a:fld id="{658CB16E-3EDD-4252-A4A7-B4FB185F9D91}" type="slidenum">
              <a:rPr lang="en-US" smtClean="0"/>
              <a:t>9</a:t>
            </a:fld>
            <a:endParaRPr lang="en-US" dirty="0"/>
          </a:p>
        </p:txBody>
      </p:sp>
    </p:spTree>
    <p:extLst>
      <p:ext uri="{BB962C8B-B14F-4D97-AF65-F5344CB8AC3E}">
        <p14:creationId xmlns:p14="http://schemas.microsoft.com/office/powerpoint/2010/main" val="39404656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1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1.jpeg"/><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 1">
    <p:bg>
      <p:bgPr>
        <a:solidFill>
          <a:schemeClr val="bg1"/>
        </a:solidFill>
        <a:effectLst/>
      </p:bgPr>
    </p:bg>
    <p:spTree>
      <p:nvGrpSpPr>
        <p:cNvPr id="1" name=""/>
        <p:cNvGrpSpPr/>
        <p:nvPr/>
      </p:nvGrpSpPr>
      <p:grpSpPr>
        <a:xfrm>
          <a:off x="0" y="0"/>
          <a:ext cx="0" cy="0"/>
          <a:chOff x="0" y="0"/>
          <a:chExt cx="0" cy="0"/>
        </a:xfrm>
      </p:grpSpPr>
      <p:pic>
        <p:nvPicPr>
          <p:cNvPr id="6" name="Bilde 5" descr="Et bilde som inneholder natur&#10;&#10;Beskrivelse som er generert med svært høy visshet">
            <a:extLst>
              <a:ext uri="{FF2B5EF4-FFF2-40B4-BE49-F238E27FC236}">
                <a16:creationId xmlns:a16="http://schemas.microsoft.com/office/drawing/2014/main" id="{5D7C791B-E956-4FB4-8B7A-1D12777F469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3014" b="28300"/>
          <a:stretch/>
        </p:blipFill>
        <p:spPr>
          <a:xfrm flipH="1">
            <a:off x="0" y="750653"/>
            <a:ext cx="12192000" cy="5354906"/>
          </a:xfrm>
          <a:prstGeom prst="rect">
            <a:avLst/>
          </a:prstGeom>
        </p:spPr>
      </p:pic>
      <p:pic>
        <p:nvPicPr>
          <p:cNvPr id="4" name="Bilde 3" descr="Et bilde som inneholder objekt&#10;&#10;Beskrivelse som er generert med høy visshet">
            <a:extLst>
              <a:ext uri="{FF2B5EF4-FFF2-40B4-BE49-F238E27FC236}">
                <a16:creationId xmlns:a16="http://schemas.microsoft.com/office/drawing/2014/main" id="{AEF774C9-26BF-4A38-BBCA-3F0F5F7E2D0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4518514"/>
            <a:ext cx="12192000" cy="2339486"/>
          </a:xfrm>
          <a:prstGeom prst="rect">
            <a:avLst/>
          </a:prstGeom>
        </p:spPr>
      </p:pic>
      <p:sp>
        <p:nvSpPr>
          <p:cNvPr id="12" name="Plassholder for tekst 10">
            <a:extLst>
              <a:ext uri="{FF2B5EF4-FFF2-40B4-BE49-F238E27FC236}">
                <a16:creationId xmlns:a16="http://schemas.microsoft.com/office/drawing/2014/main" id="{CDEAA417-39D1-4E1C-8F4E-D09C1BA4ABA7}"/>
              </a:ext>
            </a:extLst>
          </p:cNvPr>
          <p:cNvSpPr>
            <a:spLocks noGrp="1"/>
          </p:cNvSpPr>
          <p:nvPr>
            <p:ph type="body" sz="quarter" idx="11" hasCustomPrompt="1"/>
          </p:nvPr>
        </p:nvSpPr>
        <p:spPr>
          <a:xfrm>
            <a:off x="1819512" y="750657"/>
            <a:ext cx="4377307" cy="5391063"/>
          </a:xfrm>
          <a:solidFill>
            <a:schemeClr val="bg1"/>
          </a:solidFill>
        </p:spPr>
        <p:txBody>
          <a:bodyPr anchor="b" anchorCtr="0"/>
          <a:lstStyle>
            <a:lvl1pPr marL="0" indent="0" algn="ctr">
              <a:lnSpc>
                <a:spcPct val="120000"/>
              </a:lnSpc>
              <a:spcBef>
                <a:spcPts val="0"/>
              </a:spcBef>
              <a:buNone/>
              <a:defRPr sz="1400">
                <a:solidFill>
                  <a:srgbClr val="737B92"/>
                </a:solidFill>
                <a:latin typeface="Calibri" panose="020F0502020204030204" pitchFamily="34" charset="0"/>
                <a:cs typeface="Calibri" panose="020F0502020204030204" pitchFamily="34" charset="0"/>
              </a:defRPr>
            </a:lvl1pPr>
          </a:lstStyle>
          <a:p>
            <a:pPr lvl="0"/>
            <a:r>
              <a:rPr lang="en-GB"/>
              <a:t>Name, title</a:t>
            </a:r>
          </a:p>
        </p:txBody>
      </p:sp>
      <p:sp>
        <p:nvSpPr>
          <p:cNvPr id="3" name="Subtitle 2"/>
          <p:cNvSpPr>
            <a:spLocks noGrp="1"/>
          </p:cNvSpPr>
          <p:nvPr>
            <p:ph type="subTitle" idx="1" hasCustomPrompt="1"/>
          </p:nvPr>
        </p:nvSpPr>
        <p:spPr>
          <a:xfrm>
            <a:off x="2167220" y="2675466"/>
            <a:ext cx="3694641" cy="215468"/>
          </a:xfrm>
        </p:spPr>
        <p:txBody>
          <a:bodyPr wrap="square" anchor="b" anchorCtr="0">
            <a:spAutoFit/>
          </a:bodyPr>
          <a:lstStyle>
            <a:lvl1pPr marL="0" indent="0" algn="ctr">
              <a:buNone/>
              <a:defRPr sz="1400" cap="all" spc="105" baseline="0">
                <a:solidFill>
                  <a:srgbClr val="737B92"/>
                </a:solidFill>
                <a:latin typeface="Calibri" panose="020F0502020204030204" pitchFamily="34" charset="0"/>
                <a:cs typeface="Calibri" panose="020F0502020204030204"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SUBHEADLINE OPTIONAL</a:t>
            </a:r>
            <a:endParaRPr lang="en-US"/>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2167220" y="3943998"/>
            <a:ext cx="3694641" cy="307777"/>
          </a:xfrm>
        </p:spPr>
        <p:txBody>
          <a:bodyPr>
            <a:spAutoFit/>
          </a:bodyPr>
          <a:lstStyle>
            <a:lvl1pPr algn="ctr">
              <a:defRPr sz="1400">
                <a:solidFill>
                  <a:srgbClr val="737B92"/>
                </a:solidFill>
                <a:latin typeface="Calibri" panose="020F0502020204030204" pitchFamily="34" charset="0"/>
                <a:cs typeface="Calibri" panose="020F0502020204030204" pitchFamily="34" charset="0"/>
              </a:defRPr>
            </a:lvl1pPr>
          </a:lstStyle>
          <a:p>
            <a:fld id="{2B7489E5-72CC-4085-8A48-F641872D3FF9}" type="datetime1">
              <a:rPr lang="en-GB" smtClean="0"/>
              <a:pPr/>
              <a:t>06/06/2022</a:t>
            </a:fld>
            <a:endParaRPr lang="nb-NO"/>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3599529" y="750798"/>
            <a:ext cx="826117" cy="829153"/>
          </a:xfrm>
          <a:prstGeom prst="rect">
            <a:avLst/>
          </a:prstGeom>
          <a:blipFill>
            <a:blip r:embed="rId4"/>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A177778B-3F56-42E4-A061-05619FDB16BE}"/>
              </a:ext>
            </a:extLst>
          </p:cNvPr>
          <p:cNvSpPr>
            <a:spLocks noGrp="1"/>
          </p:cNvSpPr>
          <p:nvPr>
            <p:ph type="body" sz="quarter" idx="14"/>
          </p:nvPr>
        </p:nvSpPr>
        <p:spPr>
          <a:xfrm>
            <a:off x="2167220" y="3088539"/>
            <a:ext cx="3694641" cy="936117"/>
          </a:xfrm>
        </p:spPr>
        <p:txBody>
          <a:bodyPr lIns="0" tIns="0" rIns="0" bIns="0">
            <a:normAutofit/>
          </a:bodyPr>
          <a:lstStyle>
            <a:lvl1pPr marL="0" indent="0" algn="ctr">
              <a:lnSpc>
                <a:spcPct val="88000"/>
              </a:lnSpc>
              <a:buNone/>
              <a:defRPr sz="3000" b="1">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 name="TekstSylinder 1">
            <a:extLst>
              <a:ext uri="{FF2B5EF4-FFF2-40B4-BE49-F238E27FC236}">
                <a16:creationId xmlns:a16="http://schemas.microsoft.com/office/drawing/2014/main" id="{F9752319-DDF5-4A1B-8641-0A17A134BF12}"/>
              </a:ext>
            </a:extLst>
          </p:cNvPr>
          <p:cNvSpPr txBox="1"/>
          <p:nvPr userDrawn="1"/>
        </p:nvSpPr>
        <p:spPr>
          <a:xfrm>
            <a:off x="1819512" y="6367463"/>
            <a:ext cx="4377307" cy="317074"/>
          </a:xfrm>
          <a:prstGeom prst="rect">
            <a:avLst/>
          </a:prstGeom>
          <a:noFill/>
        </p:spPr>
        <p:txBody>
          <a:bodyPr wrap="square" lIns="144000" rIns="144000" rtlCol="0">
            <a:spAutoFit/>
          </a:bodyPr>
          <a:lstStyle/>
          <a:p>
            <a:pPr algn="ctr">
              <a:lnSpc>
                <a:spcPct val="110000"/>
              </a:lnSpc>
            </a:pPr>
            <a:r>
              <a:rPr lang="en-GB" sz="450" b="1" i="0" kern="1200" spc="20" baseline="0" dirty="0">
                <a:solidFill>
                  <a:srgbClr val="001639"/>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rgbClr val="001639"/>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450" b="0" i="0" kern="1200" spc="20" baseline="0" dirty="0">
                <a:solidFill>
                  <a:srgbClr val="001639"/>
                </a:solidFill>
                <a:effectLst/>
                <a:latin typeface="Calibri" panose="020F0502020204030204" pitchFamily="34" charset="0"/>
                <a:ea typeface="+mn-ea"/>
                <a:cs typeface="Calibri" panose="020F0502020204030204" pitchFamily="34" charset="0"/>
              </a:rPr>
            </a:br>
            <a:r>
              <a:rPr lang="en-GB" sz="450" b="0" i="0" kern="1200" spc="20" baseline="0" dirty="0">
                <a:solidFill>
                  <a:srgbClr val="001639"/>
                </a:solidFill>
                <a:effectLst/>
                <a:latin typeface="Calibri" panose="020F0502020204030204" pitchFamily="34" charset="0"/>
                <a:ea typeface="+mn-ea"/>
                <a:cs typeface="Calibri" panose="020F0502020204030204" pitchFamily="34" charset="0"/>
              </a:rPr>
              <a:t>© 2018 KONGSBERG – All rights reserved</a:t>
            </a:r>
            <a:r>
              <a:rPr lang="en-GB" sz="450" b="0" i="0" kern="1200" dirty="0">
                <a:solidFill>
                  <a:srgbClr val="001639"/>
                </a:solidFill>
                <a:effectLst/>
                <a:latin typeface="Calibri" panose="020F0502020204030204" pitchFamily="34" charset="0"/>
                <a:ea typeface="+mn-ea"/>
                <a:cs typeface="Calibri" panose="020F0502020204030204" pitchFamily="34" charset="0"/>
              </a:rPr>
              <a:t>.</a:t>
            </a:r>
            <a:endParaRPr lang="nb-NO">
              <a:solidFill>
                <a:srgbClr val="0016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6907991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ign off slide, blue - 2">
    <p:bg>
      <p:bgPr>
        <a:solidFill>
          <a:schemeClr val="accent1"/>
        </a:solidFill>
        <a:effectLst/>
      </p:bgPr>
    </p:bg>
    <p:spTree>
      <p:nvGrpSpPr>
        <p:cNvPr id="1" name=""/>
        <p:cNvGrpSpPr/>
        <p:nvPr/>
      </p:nvGrpSpPr>
      <p:grpSpPr>
        <a:xfrm>
          <a:off x="0" y="0"/>
          <a:ext cx="0" cy="0"/>
          <a:chOff x="0" y="0"/>
          <a:chExt cx="0" cy="0"/>
        </a:xfrm>
      </p:grpSpPr>
      <p:pic>
        <p:nvPicPr>
          <p:cNvPr id="12" name="Bilde 11" descr="Et bilde som inneholder vann&#10;&#10;Beskrivelse som er generert med høy visshet">
            <a:extLst>
              <a:ext uri="{FF2B5EF4-FFF2-40B4-BE49-F238E27FC236}">
                <a16:creationId xmlns:a16="http://schemas.microsoft.com/office/drawing/2014/main" id="{F7BF02D8-FFD7-451C-888C-52CC43D0A9BB}"/>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0703" r="11152"/>
          <a:stretch/>
        </p:blipFill>
        <p:spPr>
          <a:xfrm rot="16200000">
            <a:off x="3417727" y="-2667074"/>
            <a:ext cx="5356544" cy="12192001"/>
          </a:xfrm>
          <a:prstGeom prst="rect">
            <a:avLst/>
          </a:prstGeom>
        </p:spPr>
      </p:pic>
      <p:pic>
        <p:nvPicPr>
          <p:cNvPr id="5" name="Bilde 4" descr="Et bilde som inneholder innendørs, vegg&#10;&#10;Beskrivelse som er generert med høy visshet">
            <a:extLst>
              <a:ext uri="{FF2B5EF4-FFF2-40B4-BE49-F238E27FC236}">
                <a16:creationId xmlns:a16="http://schemas.microsoft.com/office/drawing/2014/main" id="{692EE514-2586-4121-B7A9-A33D30E7375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83600" y="4683600"/>
            <a:ext cx="5413259" cy="1142241"/>
          </a:xfrm>
          <a:prstGeom prst="rect">
            <a:avLst/>
          </a:prstGeom>
        </p:spPr>
      </p:pic>
      <p:pic>
        <p:nvPicPr>
          <p:cNvPr id="3" name="Bilde 2" descr="Et bilde som inneholder svart, bygning, innendørs, hvit&#10;&#10;Beskrivelse som er generert med svært høy visshet">
            <a:extLst>
              <a:ext uri="{FF2B5EF4-FFF2-40B4-BE49-F238E27FC236}">
                <a16:creationId xmlns:a16="http://schemas.microsoft.com/office/drawing/2014/main" id="{D1683D00-8821-4363-8658-F5DBC131C6F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96000" y="4683600"/>
            <a:ext cx="1142241" cy="1142241"/>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1253758"/>
            <a:ext cx="4377307" cy="4380778"/>
          </a:xfrm>
          <a:solidFill>
            <a:srgbClr val="001639"/>
          </a:solidFill>
        </p:spPr>
        <p:txBody>
          <a:bodyPr bIns="1432800" anchor="b" anchorCtr="0"/>
          <a:lstStyle>
            <a:lvl1pPr marL="0" indent="0" algn="ctr">
              <a:lnSpc>
                <a:spcPct val="120000"/>
              </a:lnSpc>
              <a:spcBef>
                <a:spcPts val="0"/>
              </a:spcBef>
              <a:buNone/>
              <a:defRPr sz="1400">
                <a:solidFill>
                  <a:schemeClr val="accent2"/>
                </a:solidFill>
                <a:latin typeface="Calibri" panose="020F0502020204030204" pitchFamily="34" charset="0"/>
                <a:cs typeface="Calibri" panose="020F0502020204030204" pitchFamily="34" charset="0"/>
              </a:defRPr>
            </a:lvl1pPr>
          </a:lstStyle>
          <a:p>
            <a:pPr lvl="0"/>
            <a:r>
              <a:rPr lang="en-GB"/>
              <a:t>Click to enter e-mail</a:t>
            </a:r>
          </a:p>
        </p:txBody>
      </p:sp>
      <p:sp>
        <p:nvSpPr>
          <p:cNvPr id="6" name="Plassholder for tekst 4">
            <a:extLst>
              <a:ext uri="{FF2B5EF4-FFF2-40B4-BE49-F238E27FC236}">
                <a16:creationId xmlns:a16="http://schemas.microsoft.com/office/drawing/2014/main" id="{5BC55F1A-79D7-4966-9AE7-8CD8E7DBB9FA}"/>
              </a:ext>
            </a:extLst>
          </p:cNvPr>
          <p:cNvSpPr>
            <a:spLocks noGrp="1"/>
          </p:cNvSpPr>
          <p:nvPr>
            <p:ph type="body" sz="quarter" idx="14" hasCustomPrompt="1"/>
          </p:nvPr>
        </p:nvSpPr>
        <p:spPr>
          <a:xfrm>
            <a:off x="3599529" y="1660312"/>
            <a:ext cx="826117" cy="829153"/>
          </a:xfrm>
          <a:prstGeom prst="rect">
            <a:avLst/>
          </a:prstGeom>
          <a:blipFill>
            <a:blip r:embed="rId5"/>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4332AE87-5AB2-4F78-8821-4425717E5309}"/>
              </a:ext>
            </a:extLst>
          </p:cNvPr>
          <p:cNvSpPr>
            <a:spLocks noGrp="1"/>
          </p:cNvSpPr>
          <p:nvPr>
            <p:ph type="body" sz="quarter" idx="15"/>
          </p:nvPr>
        </p:nvSpPr>
        <p:spPr>
          <a:xfrm>
            <a:off x="2167220" y="3088539"/>
            <a:ext cx="3694641" cy="936117"/>
          </a:xfrm>
        </p:spPr>
        <p:txBody>
          <a:bodyPr lIns="0" tIns="0" rIns="0" bIns="0">
            <a:normAutofit/>
          </a:bodyPr>
          <a:lstStyle>
            <a:lvl1pPr marL="0" indent="0" algn="ctr">
              <a:lnSpc>
                <a:spcPct val="88000"/>
              </a:lnSpc>
              <a:buNone/>
              <a:defRPr sz="300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9" name="TekstSylinder 8">
            <a:extLst>
              <a:ext uri="{FF2B5EF4-FFF2-40B4-BE49-F238E27FC236}">
                <a16:creationId xmlns:a16="http://schemas.microsoft.com/office/drawing/2014/main" id="{3937BF17-C12B-49D4-BAE9-8BBDFF95DD82}"/>
              </a:ext>
            </a:extLst>
          </p:cNvPr>
          <p:cNvSpPr txBox="1"/>
          <p:nvPr userDrawn="1"/>
        </p:nvSpPr>
        <p:spPr>
          <a:xfrm>
            <a:off x="3886200" y="6354000"/>
            <a:ext cx="4419602" cy="230832"/>
          </a:xfrm>
          <a:prstGeom prst="rect">
            <a:avLst/>
          </a:prstGeom>
          <a:noFill/>
        </p:spPr>
        <p:txBody>
          <a:bodyPr wrap="square" rtlCol="0">
            <a:spAutoFit/>
          </a:bodyPr>
          <a:lstStyle/>
          <a:p>
            <a:pPr algn="ctr"/>
            <a:r>
              <a:rPr lang="en-GB" sz="900"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dirty="0">
              <a:solidFill>
                <a:srgbClr val="99999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753041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picture">
    <p:bg>
      <p:bgPr>
        <a:solidFill>
          <a:schemeClr val="bg1"/>
        </a:solidFill>
        <a:effectLst/>
      </p:bgPr>
    </p:bg>
    <p:spTree>
      <p:nvGrpSpPr>
        <p:cNvPr id="1" name=""/>
        <p:cNvGrpSpPr/>
        <p:nvPr/>
      </p:nvGrpSpPr>
      <p:grpSpPr>
        <a:xfrm>
          <a:off x="0" y="0"/>
          <a:ext cx="0" cy="0"/>
          <a:chOff x="0" y="0"/>
          <a:chExt cx="0" cy="0"/>
        </a:xfrm>
      </p:grpSpPr>
      <p:sp>
        <p:nvSpPr>
          <p:cNvPr id="7" name="Plassholder for bilde 6">
            <a:extLst>
              <a:ext uri="{FF2B5EF4-FFF2-40B4-BE49-F238E27FC236}">
                <a16:creationId xmlns:a16="http://schemas.microsoft.com/office/drawing/2014/main" id="{E113E4D0-90CC-42DB-8506-5F4D0C52056A}"/>
              </a:ext>
            </a:extLst>
          </p:cNvPr>
          <p:cNvSpPr>
            <a:spLocks noGrp="1"/>
          </p:cNvSpPr>
          <p:nvPr>
            <p:ph type="pic" sz="quarter" idx="13"/>
          </p:nvPr>
        </p:nvSpPr>
        <p:spPr>
          <a:xfrm>
            <a:off x="640163" y="2126226"/>
            <a:ext cx="10917071" cy="3978101"/>
          </a:xfrm>
          <a:prstGeom prst="rect">
            <a:avLst/>
          </a:prstGeom>
          <a:solidFill>
            <a:schemeClr val="bg1">
              <a:lumMod val="85000"/>
            </a:schemeClr>
          </a:solidFill>
        </p:spPr>
        <p:txBody>
          <a:bodyPr lIns="0" tIns="0" rIns="0" bIns="0"/>
          <a:lstStyle/>
          <a:p>
            <a:r>
              <a:rPr lang="en-US" dirty="0"/>
              <a:t>Click icon to add picture</a:t>
            </a:r>
            <a:endParaRPr lang="en-GB" dirty="0"/>
          </a:p>
        </p:txBody>
      </p:sp>
      <p:sp>
        <p:nvSpPr>
          <p:cNvPr id="9" name="Plassholder for lysbildenummer 8">
            <a:extLst>
              <a:ext uri="{FF2B5EF4-FFF2-40B4-BE49-F238E27FC236}">
                <a16:creationId xmlns:a16="http://schemas.microsoft.com/office/drawing/2014/main" id="{D19093E2-E366-40FE-99ED-6FB25DB6A1E3}"/>
              </a:ext>
            </a:extLst>
          </p:cNvPr>
          <p:cNvSpPr>
            <a:spLocks noGrp="1"/>
          </p:cNvSpPr>
          <p:nvPr>
            <p:ph type="sldNum" sz="quarter" idx="15"/>
          </p:nvPr>
        </p:nvSpPr>
        <p:spPr/>
        <p:txBody>
          <a:bodyPr/>
          <a:lstStyle>
            <a:lvl1pPr>
              <a:defRPr>
                <a:solidFill>
                  <a:srgbClr val="999999"/>
                </a:solidFill>
              </a:defRPr>
            </a:lvl1pPr>
          </a:lstStyle>
          <a:p>
            <a:fld id="{7A3F00B2-786C-401B-9EB3-42A9D0DD4A9F}" type="slidenum">
              <a:rPr lang="nb-NO" smtClean="0"/>
              <a:pPr/>
              <a:t>‹#›</a:t>
            </a:fld>
            <a:endParaRPr lang="nb-NO"/>
          </a:p>
        </p:txBody>
      </p:sp>
      <p:sp>
        <p:nvSpPr>
          <p:cNvPr id="6" name="Title 1">
            <a:extLst>
              <a:ext uri="{FF2B5EF4-FFF2-40B4-BE49-F238E27FC236}">
                <a16:creationId xmlns:a16="http://schemas.microsoft.com/office/drawing/2014/main" id="{348127A3-C6BC-40E4-8E99-97A2D2E0D36A}"/>
              </a:ext>
            </a:extLst>
          </p:cNvPr>
          <p:cNvSpPr>
            <a:spLocks noGrp="1"/>
          </p:cNvSpPr>
          <p:nvPr>
            <p:ph type="title"/>
          </p:nvPr>
        </p:nvSpPr>
        <p:spPr>
          <a:xfrm>
            <a:off x="2034805" y="691698"/>
            <a:ext cx="8106895" cy="507960"/>
          </a:xfrm>
        </p:spPr>
        <p:txBody>
          <a:bodyPr/>
          <a:lstStyle>
            <a:lvl1pPr>
              <a:defRPr>
                <a:solidFill>
                  <a:srgbClr val="001639"/>
                </a:solidFill>
              </a:defRPr>
            </a:lvl1pPr>
          </a:lstStyle>
          <a:p>
            <a:r>
              <a:rPr lang="en-US"/>
              <a:t>Click to edit Master title style</a:t>
            </a:r>
          </a:p>
        </p:txBody>
      </p:sp>
      <p:sp>
        <p:nvSpPr>
          <p:cNvPr id="8" name="Plassholder for tekst 10">
            <a:extLst>
              <a:ext uri="{FF2B5EF4-FFF2-40B4-BE49-F238E27FC236}">
                <a16:creationId xmlns:a16="http://schemas.microsoft.com/office/drawing/2014/main" id="{3B8CE43E-E286-4935-8B09-4FBDA65E220E}"/>
              </a:ext>
            </a:extLst>
          </p:cNvPr>
          <p:cNvSpPr>
            <a:spLocks noGrp="1"/>
          </p:cNvSpPr>
          <p:nvPr>
            <p:ph type="body" sz="quarter" idx="16"/>
          </p:nvPr>
        </p:nvSpPr>
        <p:spPr>
          <a:xfrm>
            <a:off x="2034805" y="1140353"/>
            <a:ext cx="8106895" cy="319919"/>
          </a:xfrm>
        </p:spPr>
        <p:txBody>
          <a:bodyPr>
            <a:noAutofit/>
          </a:bodyPr>
          <a:lstStyle>
            <a:lvl1pPr marL="0" indent="0" algn="ctr">
              <a:buNone/>
              <a:defRPr sz="2000"/>
            </a:lvl1pPr>
          </a:lstStyle>
          <a:p>
            <a:pPr lvl="0"/>
            <a:r>
              <a:rPr lang="en-US"/>
              <a:t>Edit Master text styles</a:t>
            </a:r>
          </a:p>
        </p:txBody>
      </p:sp>
    </p:spTree>
    <p:extLst>
      <p:ext uri="{BB962C8B-B14F-4D97-AF65-F5344CB8AC3E}">
        <p14:creationId xmlns:p14="http://schemas.microsoft.com/office/powerpoint/2010/main" val="8506560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box (centered vertical)">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034805" y="691698"/>
            <a:ext cx="8106895" cy="507960"/>
          </a:xfrm>
        </p:spPr>
        <p:txBody>
          <a:bodyPr/>
          <a:lstStyle/>
          <a:p>
            <a:r>
              <a:rPr lang="en-US"/>
              <a:t>Click to edit Master title style</a:t>
            </a:r>
          </a:p>
        </p:txBody>
      </p:sp>
      <p:sp>
        <p:nvSpPr>
          <p:cNvPr id="3" name="Content Placeholder 2"/>
          <p:cNvSpPr>
            <a:spLocks noGrp="1"/>
          </p:cNvSpPr>
          <p:nvPr>
            <p:ph sz="half" idx="1"/>
          </p:nvPr>
        </p:nvSpPr>
        <p:spPr>
          <a:xfrm>
            <a:off x="2034805" y="2153514"/>
            <a:ext cx="8106895" cy="39530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Plassholder for tekst 10">
            <a:extLst>
              <a:ext uri="{FF2B5EF4-FFF2-40B4-BE49-F238E27FC236}">
                <a16:creationId xmlns:a16="http://schemas.microsoft.com/office/drawing/2014/main" id="{4238B70C-881E-40E3-AD7C-CA362EA518E7}"/>
              </a:ext>
            </a:extLst>
          </p:cNvPr>
          <p:cNvSpPr>
            <a:spLocks noGrp="1"/>
          </p:cNvSpPr>
          <p:nvPr>
            <p:ph type="body" sz="quarter" idx="16"/>
          </p:nvPr>
        </p:nvSpPr>
        <p:spPr>
          <a:xfrm>
            <a:off x="2034805" y="1140353"/>
            <a:ext cx="8106895" cy="319919"/>
          </a:xfrm>
        </p:spPr>
        <p:txBody>
          <a:bodyPr>
            <a:noAutofit/>
          </a:bodyPr>
          <a:lstStyle>
            <a:lvl1pPr marL="0" indent="0" algn="ctr">
              <a:buNone/>
              <a:defRPr sz="2000"/>
            </a:lvl1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Tree>
    <p:extLst>
      <p:ext uri="{BB962C8B-B14F-4D97-AF65-F5344CB8AC3E}">
        <p14:creationId xmlns:p14="http://schemas.microsoft.com/office/powerpoint/2010/main" val="10022474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boxes (2)">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0163" y="2153514"/>
            <a:ext cx="5348462" cy="3953025"/>
          </a:xfrm>
        </p:spPr>
        <p:txBody>
          <a:bodyPr/>
          <a:lstStyle>
            <a:lvl1pPr>
              <a:defRPr>
                <a:solidFill>
                  <a:srgbClr val="001639"/>
                </a:solidFill>
              </a:defRPr>
            </a:lvl1pPr>
            <a:lvl2pPr>
              <a:defRPr>
                <a:solidFill>
                  <a:srgbClr val="001639"/>
                </a:solidFill>
              </a:defRPr>
            </a:lvl2pPr>
            <a:lvl3pPr>
              <a:defRPr>
                <a:solidFill>
                  <a:srgbClr val="001639"/>
                </a:solidFill>
              </a:defRPr>
            </a:lvl3pPr>
            <a:lvl4pPr>
              <a:defRPr>
                <a:solidFill>
                  <a:srgbClr val="001639"/>
                </a:solidFill>
              </a:defRPr>
            </a:lvl4pPr>
            <a:lvl5pPr>
              <a:defRPr>
                <a:solidFill>
                  <a:srgbClr val="00163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9" name="Content Placeholder 2">
            <a:extLst>
              <a:ext uri="{FF2B5EF4-FFF2-40B4-BE49-F238E27FC236}">
                <a16:creationId xmlns:a16="http://schemas.microsoft.com/office/drawing/2014/main" id="{10C29AFC-8AEB-4D56-AA39-C36FD661720A}"/>
              </a:ext>
            </a:extLst>
          </p:cNvPr>
          <p:cNvSpPr>
            <a:spLocks noGrp="1"/>
          </p:cNvSpPr>
          <p:nvPr>
            <p:ph sz="half" idx="19"/>
          </p:nvPr>
        </p:nvSpPr>
        <p:spPr>
          <a:xfrm>
            <a:off x="6203375" y="2153514"/>
            <a:ext cx="5348462" cy="3953025"/>
          </a:xfrm>
        </p:spPr>
        <p:txBody>
          <a:bodyPr/>
          <a:lstStyle>
            <a:lvl1pPr>
              <a:defRPr>
                <a:solidFill>
                  <a:srgbClr val="001639"/>
                </a:solidFill>
              </a:defRPr>
            </a:lvl1pPr>
            <a:lvl2pPr>
              <a:defRPr>
                <a:solidFill>
                  <a:srgbClr val="001639"/>
                </a:solidFill>
              </a:defRPr>
            </a:lvl2pPr>
            <a:lvl3pPr>
              <a:defRPr>
                <a:solidFill>
                  <a:srgbClr val="001639"/>
                </a:solidFill>
              </a:defRPr>
            </a:lvl3pPr>
            <a:lvl4pPr>
              <a:defRPr>
                <a:solidFill>
                  <a:srgbClr val="001639"/>
                </a:solidFill>
              </a:defRPr>
            </a:lvl4pPr>
            <a:lvl5pPr>
              <a:defRPr>
                <a:solidFill>
                  <a:srgbClr val="00163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a:extLst>
              <a:ext uri="{FF2B5EF4-FFF2-40B4-BE49-F238E27FC236}">
                <a16:creationId xmlns:a16="http://schemas.microsoft.com/office/drawing/2014/main" id="{5BAAEE4D-A40C-437B-BDE0-0A704512180E}"/>
              </a:ext>
            </a:extLst>
          </p:cNvPr>
          <p:cNvSpPr>
            <a:spLocks noGrp="1"/>
          </p:cNvSpPr>
          <p:nvPr>
            <p:ph type="title"/>
          </p:nvPr>
        </p:nvSpPr>
        <p:spPr>
          <a:xfrm>
            <a:off x="2034805" y="691698"/>
            <a:ext cx="8106895" cy="507960"/>
          </a:xfrm>
        </p:spPr>
        <p:txBody>
          <a:bodyPr/>
          <a:lstStyle>
            <a:lvl1pPr algn="ctr">
              <a:defRPr>
                <a:solidFill>
                  <a:srgbClr val="001639"/>
                </a:solidFill>
              </a:defRPr>
            </a:lvl1pPr>
          </a:lstStyle>
          <a:p>
            <a:r>
              <a:rPr lang="en-US"/>
              <a:t>Click to edit Master title style</a:t>
            </a:r>
          </a:p>
        </p:txBody>
      </p:sp>
      <p:sp>
        <p:nvSpPr>
          <p:cNvPr id="11" name="Plassholder for tekst 10">
            <a:extLst>
              <a:ext uri="{FF2B5EF4-FFF2-40B4-BE49-F238E27FC236}">
                <a16:creationId xmlns:a16="http://schemas.microsoft.com/office/drawing/2014/main" id="{9A40C68A-E30E-4445-A811-0ACA80B9EA12}"/>
              </a:ext>
            </a:extLst>
          </p:cNvPr>
          <p:cNvSpPr>
            <a:spLocks noGrp="1"/>
          </p:cNvSpPr>
          <p:nvPr>
            <p:ph type="body" sz="quarter" idx="16"/>
          </p:nvPr>
        </p:nvSpPr>
        <p:spPr>
          <a:xfrm>
            <a:off x="2034805" y="1140353"/>
            <a:ext cx="8106895" cy="319919"/>
          </a:xfrm>
        </p:spPr>
        <p:txBody>
          <a:bodyPr>
            <a:noAutofit/>
          </a:bodyPr>
          <a:lstStyle>
            <a:lvl1pPr marL="0" indent="0" algn="ctr">
              <a:buNone/>
              <a:defRPr sz="2000">
                <a:solidFill>
                  <a:srgbClr val="001639"/>
                </a:solidFill>
              </a:defRPr>
            </a:lvl1pPr>
          </a:lstStyle>
          <a:p>
            <a:pPr lvl="0"/>
            <a:r>
              <a:rPr lang="en-US"/>
              <a:t>Edit Master text styles</a:t>
            </a:r>
          </a:p>
        </p:txBody>
      </p:sp>
    </p:spTree>
    <p:extLst>
      <p:ext uri="{BB962C8B-B14F-4D97-AF65-F5344CB8AC3E}">
        <p14:creationId xmlns:p14="http://schemas.microsoft.com/office/powerpoint/2010/main" val="24227070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boxes (2/3+1/3)">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0163" y="2153514"/>
            <a:ext cx="6733147" cy="39530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9" name="Content Placeholder 2">
            <a:extLst>
              <a:ext uri="{FF2B5EF4-FFF2-40B4-BE49-F238E27FC236}">
                <a16:creationId xmlns:a16="http://schemas.microsoft.com/office/drawing/2014/main" id="{10C29AFC-8AEB-4D56-AA39-C36FD661720A}"/>
              </a:ext>
            </a:extLst>
          </p:cNvPr>
          <p:cNvSpPr>
            <a:spLocks noGrp="1"/>
          </p:cNvSpPr>
          <p:nvPr>
            <p:ph sz="half" idx="19"/>
          </p:nvPr>
        </p:nvSpPr>
        <p:spPr>
          <a:xfrm>
            <a:off x="7590508" y="2153514"/>
            <a:ext cx="3961329" cy="39530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FE9C8424-4AF7-497F-86CC-A444E82B03F7}"/>
              </a:ext>
            </a:extLst>
          </p:cNvPr>
          <p:cNvSpPr>
            <a:spLocks noGrp="1"/>
          </p:cNvSpPr>
          <p:nvPr>
            <p:ph type="title"/>
          </p:nvPr>
        </p:nvSpPr>
        <p:spPr>
          <a:xfrm>
            <a:off x="2034805" y="691698"/>
            <a:ext cx="8106895" cy="507960"/>
          </a:xfrm>
        </p:spPr>
        <p:txBody>
          <a:bodyPr/>
          <a:lstStyle>
            <a:lvl1pPr>
              <a:defRPr>
                <a:solidFill>
                  <a:srgbClr val="001639"/>
                </a:solidFill>
              </a:defRPr>
            </a:lvl1pPr>
          </a:lstStyle>
          <a:p>
            <a:r>
              <a:rPr lang="en-US"/>
              <a:t>Click to edit Master title style</a:t>
            </a:r>
          </a:p>
        </p:txBody>
      </p:sp>
      <p:sp>
        <p:nvSpPr>
          <p:cNvPr id="12" name="Plassholder for tekst 10">
            <a:extLst>
              <a:ext uri="{FF2B5EF4-FFF2-40B4-BE49-F238E27FC236}">
                <a16:creationId xmlns:a16="http://schemas.microsoft.com/office/drawing/2014/main" id="{99A36ADE-E34E-4459-B320-B24C92DEC68D}"/>
              </a:ext>
            </a:extLst>
          </p:cNvPr>
          <p:cNvSpPr>
            <a:spLocks noGrp="1"/>
          </p:cNvSpPr>
          <p:nvPr>
            <p:ph type="body" sz="quarter" idx="16"/>
          </p:nvPr>
        </p:nvSpPr>
        <p:spPr>
          <a:xfrm>
            <a:off x="2034805" y="1140353"/>
            <a:ext cx="8106895" cy="319919"/>
          </a:xfrm>
        </p:spPr>
        <p:txBody>
          <a:bodyPr>
            <a:noAutofit/>
          </a:bodyPr>
          <a:lstStyle>
            <a:lvl1pPr marL="0" indent="0" algn="ctr">
              <a:buNone/>
              <a:defRPr sz="2000">
                <a:solidFill>
                  <a:srgbClr val="001639"/>
                </a:solidFill>
              </a:defRPr>
            </a:lvl1pPr>
          </a:lstStyle>
          <a:p>
            <a:pPr lvl="0"/>
            <a:r>
              <a:rPr lang="en-US"/>
              <a:t>Edit Master text styles</a:t>
            </a:r>
          </a:p>
        </p:txBody>
      </p:sp>
    </p:spTree>
    <p:extLst>
      <p:ext uri="{BB962C8B-B14F-4D97-AF65-F5344CB8AC3E}">
        <p14:creationId xmlns:p14="http://schemas.microsoft.com/office/powerpoint/2010/main" val="36365920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boxes (3)">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2" name="Content Placeholder 1">
            <a:extLst>
              <a:ext uri="{FF2B5EF4-FFF2-40B4-BE49-F238E27FC236}">
                <a16:creationId xmlns:a16="http://schemas.microsoft.com/office/drawing/2014/main" id="{33B5FFD4-EDC3-4E93-95B1-F0B076A406FC}"/>
              </a:ext>
            </a:extLst>
          </p:cNvPr>
          <p:cNvSpPr>
            <a:spLocks noGrp="1"/>
          </p:cNvSpPr>
          <p:nvPr>
            <p:ph sz="quarter" idx="24"/>
          </p:nvPr>
        </p:nvSpPr>
        <p:spPr>
          <a:xfrm>
            <a:off x="640163" y="2153514"/>
            <a:ext cx="2572085" cy="3953025"/>
          </a:xfrm>
          <a:prstGeom prst="rect">
            <a:avLst/>
          </a:prstGeom>
        </p:spPr>
        <p:txBody>
          <a:bodyPr lIns="414000" tIns="342000" rIns="50400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Content Placeholder 2">
            <a:extLst>
              <a:ext uri="{FF2B5EF4-FFF2-40B4-BE49-F238E27FC236}">
                <a16:creationId xmlns:a16="http://schemas.microsoft.com/office/drawing/2014/main" id="{A497465F-1FEB-4C26-98B2-6BB27E6BAB65}"/>
              </a:ext>
            </a:extLst>
          </p:cNvPr>
          <p:cNvSpPr>
            <a:spLocks noGrp="1"/>
          </p:cNvSpPr>
          <p:nvPr>
            <p:ph sz="quarter" idx="25"/>
          </p:nvPr>
        </p:nvSpPr>
        <p:spPr>
          <a:xfrm>
            <a:off x="3413729" y="2153514"/>
            <a:ext cx="3972442" cy="3953025"/>
          </a:xfrm>
          <a:prstGeom prst="rect">
            <a:avLst/>
          </a:prstGeom>
        </p:spPr>
        <p:txBody>
          <a:bodyPr lIns="414000" tIns="342000" rIns="50400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A5114AEE-6DA6-48C1-B28D-10C724BAE6DB}"/>
              </a:ext>
            </a:extLst>
          </p:cNvPr>
          <p:cNvSpPr>
            <a:spLocks noGrp="1"/>
          </p:cNvSpPr>
          <p:nvPr>
            <p:ph sz="quarter" idx="26"/>
          </p:nvPr>
        </p:nvSpPr>
        <p:spPr>
          <a:xfrm>
            <a:off x="7587651" y="2153514"/>
            <a:ext cx="3972442" cy="3953025"/>
          </a:xfrm>
          <a:prstGeom prst="rect">
            <a:avLst/>
          </a:prstGeom>
        </p:spPr>
        <p:txBody>
          <a:bodyPr lIns="414000" tIns="342000" rIns="50400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a:extLst>
              <a:ext uri="{FF2B5EF4-FFF2-40B4-BE49-F238E27FC236}">
                <a16:creationId xmlns:a16="http://schemas.microsoft.com/office/drawing/2014/main" id="{43C44990-56B4-4EE6-8D6F-677272C491DF}"/>
              </a:ext>
            </a:extLst>
          </p:cNvPr>
          <p:cNvSpPr>
            <a:spLocks noGrp="1"/>
          </p:cNvSpPr>
          <p:nvPr>
            <p:ph type="title"/>
          </p:nvPr>
        </p:nvSpPr>
        <p:spPr>
          <a:xfrm>
            <a:off x="2034805" y="691698"/>
            <a:ext cx="8106895" cy="507960"/>
          </a:xfrm>
        </p:spPr>
        <p:txBody>
          <a:bodyPr/>
          <a:lstStyle>
            <a:lvl1pPr>
              <a:defRPr>
                <a:solidFill>
                  <a:srgbClr val="001639"/>
                </a:solidFill>
              </a:defRPr>
            </a:lvl1pPr>
          </a:lstStyle>
          <a:p>
            <a:r>
              <a:rPr lang="en-US"/>
              <a:t>Click to edit Master title style</a:t>
            </a:r>
          </a:p>
        </p:txBody>
      </p:sp>
      <p:sp>
        <p:nvSpPr>
          <p:cNvPr id="12" name="Plassholder for tekst 10">
            <a:extLst>
              <a:ext uri="{FF2B5EF4-FFF2-40B4-BE49-F238E27FC236}">
                <a16:creationId xmlns:a16="http://schemas.microsoft.com/office/drawing/2014/main" id="{D876354C-E3D0-4EC1-9517-CD24425B35F3}"/>
              </a:ext>
            </a:extLst>
          </p:cNvPr>
          <p:cNvSpPr>
            <a:spLocks noGrp="1"/>
          </p:cNvSpPr>
          <p:nvPr>
            <p:ph type="body" sz="quarter" idx="16"/>
          </p:nvPr>
        </p:nvSpPr>
        <p:spPr>
          <a:xfrm>
            <a:off x="2034805" y="1140353"/>
            <a:ext cx="8106895" cy="319919"/>
          </a:xfrm>
        </p:spPr>
        <p:txBody>
          <a:bodyPr>
            <a:noAutofit/>
          </a:bodyPr>
          <a:lstStyle>
            <a:lvl1pPr marL="0" indent="0" algn="ctr">
              <a:buNone/>
              <a:defRPr sz="2000">
                <a:solidFill>
                  <a:srgbClr val="001639"/>
                </a:solidFill>
              </a:defRPr>
            </a:lvl1pPr>
          </a:lstStyle>
          <a:p>
            <a:pPr lvl="0"/>
            <a:r>
              <a:rPr lang="en-US"/>
              <a:t>Edit Master text styles</a:t>
            </a:r>
          </a:p>
        </p:txBody>
      </p:sp>
    </p:spTree>
    <p:extLst>
      <p:ext uri="{BB962C8B-B14F-4D97-AF65-F5344CB8AC3E}">
        <p14:creationId xmlns:p14="http://schemas.microsoft.com/office/powerpoint/2010/main" val="40711779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picture (right)">
    <p:bg>
      <p:bgPr>
        <a:solidFill>
          <a:schemeClr val="bg1"/>
        </a:solidFill>
        <a:effectLst/>
      </p:bgPr>
    </p:bg>
    <p:spTree>
      <p:nvGrpSpPr>
        <p:cNvPr id="1" name=""/>
        <p:cNvGrpSpPr/>
        <p:nvPr/>
      </p:nvGrpSpPr>
      <p:grpSpPr>
        <a:xfrm>
          <a:off x="0" y="0"/>
          <a:ext cx="0" cy="0"/>
          <a:chOff x="0" y="0"/>
          <a:chExt cx="0" cy="0"/>
        </a:xfrm>
      </p:grpSpPr>
      <p:sp>
        <p:nvSpPr>
          <p:cNvPr id="4" name="Plassholder for tekst 3">
            <a:extLst>
              <a:ext uri="{FF2B5EF4-FFF2-40B4-BE49-F238E27FC236}">
                <a16:creationId xmlns:a16="http://schemas.microsoft.com/office/drawing/2014/main" id="{B4E3BF12-7A32-4CAA-9FF1-4F157D7E8A32}"/>
              </a:ext>
            </a:extLst>
          </p:cNvPr>
          <p:cNvSpPr>
            <a:spLocks noGrp="1"/>
          </p:cNvSpPr>
          <p:nvPr>
            <p:ph type="body" sz="quarter" idx="22" hasCustomPrompt="1"/>
          </p:nvPr>
        </p:nvSpPr>
        <p:spPr>
          <a:xfrm>
            <a:off x="640163" y="2126974"/>
            <a:ext cx="3960000"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13" name="Plassholder for tekst 10">
            <a:extLst>
              <a:ext uri="{FF2B5EF4-FFF2-40B4-BE49-F238E27FC236}">
                <a16:creationId xmlns:a16="http://schemas.microsoft.com/office/drawing/2014/main" id="{B326A42C-DB1C-4581-A817-AFDDAA5ECA62}"/>
              </a:ext>
            </a:extLst>
          </p:cNvPr>
          <p:cNvSpPr>
            <a:spLocks noGrp="1"/>
          </p:cNvSpPr>
          <p:nvPr>
            <p:ph type="body" sz="quarter" idx="16"/>
          </p:nvPr>
        </p:nvSpPr>
        <p:spPr>
          <a:xfrm>
            <a:off x="640163" y="3438000"/>
            <a:ext cx="3960000" cy="319919"/>
          </a:xfrm>
        </p:spPr>
        <p:txBody>
          <a:bodyPr>
            <a:noAutofit/>
          </a:bodyPr>
          <a:lstStyle>
            <a:lvl1pPr marL="0" indent="0" algn="l">
              <a:buNone/>
              <a:defRPr sz="2000">
                <a:solidFill>
                  <a:srgbClr val="001639"/>
                </a:solidFill>
              </a:defRPr>
            </a:lvl1pPr>
          </a:lstStyle>
          <a:p>
            <a:pPr lvl="0"/>
            <a:r>
              <a:rPr lang="en-US"/>
              <a:t>Edit Master text styles</a:t>
            </a:r>
          </a:p>
        </p:txBody>
      </p:sp>
      <p:sp>
        <p:nvSpPr>
          <p:cNvPr id="2" name="Plassholder for bilde 1">
            <a:extLst>
              <a:ext uri="{FF2B5EF4-FFF2-40B4-BE49-F238E27FC236}">
                <a16:creationId xmlns:a16="http://schemas.microsoft.com/office/drawing/2014/main" id="{45359D3F-B21D-4264-A78F-5649202074F1}"/>
              </a:ext>
            </a:extLst>
          </p:cNvPr>
          <p:cNvSpPr>
            <a:spLocks noGrp="1"/>
          </p:cNvSpPr>
          <p:nvPr>
            <p:ph type="pic" sz="quarter" idx="21"/>
          </p:nvPr>
        </p:nvSpPr>
        <p:spPr>
          <a:xfrm>
            <a:off x="4804855" y="743036"/>
            <a:ext cx="6755239" cy="5363503"/>
          </a:xfrm>
          <a:prstGeom prst="rect">
            <a:avLst/>
          </a:prstGeom>
        </p:spPr>
        <p:txBody>
          <a:bodyPr lIns="0" tIns="0" rIns="0" bIns="0"/>
          <a:lstStyle/>
          <a:p>
            <a:r>
              <a:rPr lang="en-US" dirty="0"/>
              <a:t>Click icon to add picture</a:t>
            </a:r>
            <a:endParaRPr lang="nb-NO"/>
          </a:p>
        </p:txBody>
      </p:sp>
    </p:spTree>
    <p:extLst>
      <p:ext uri="{BB962C8B-B14F-4D97-AF65-F5344CB8AC3E}">
        <p14:creationId xmlns:p14="http://schemas.microsoft.com/office/powerpoint/2010/main" val="30610232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diagram">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13" name="Plassholder for tekst 10">
            <a:extLst>
              <a:ext uri="{FF2B5EF4-FFF2-40B4-BE49-F238E27FC236}">
                <a16:creationId xmlns:a16="http://schemas.microsoft.com/office/drawing/2014/main" id="{B326A42C-DB1C-4581-A817-AFDDAA5ECA62}"/>
              </a:ext>
            </a:extLst>
          </p:cNvPr>
          <p:cNvSpPr>
            <a:spLocks noGrp="1"/>
          </p:cNvSpPr>
          <p:nvPr>
            <p:ph type="body" sz="quarter" idx="16"/>
          </p:nvPr>
        </p:nvSpPr>
        <p:spPr>
          <a:xfrm>
            <a:off x="640163" y="3438000"/>
            <a:ext cx="3960000" cy="319919"/>
          </a:xfrm>
        </p:spPr>
        <p:txBody>
          <a:bodyPr>
            <a:noAutofit/>
          </a:bodyPr>
          <a:lstStyle>
            <a:lvl1pPr marL="0" indent="0" algn="l">
              <a:buNone/>
              <a:defRPr sz="2000">
                <a:solidFill>
                  <a:srgbClr val="001639"/>
                </a:solidFill>
              </a:defRPr>
            </a:lvl1pPr>
          </a:lstStyle>
          <a:p>
            <a:pPr lvl="0"/>
            <a:r>
              <a:rPr lang="en-US"/>
              <a:t>Edit Master text styles</a:t>
            </a:r>
          </a:p>
        </p:txBody>
      </p:sp>
      <p:sp>
        <p:nvSpPr>
          <p:cNvPr id="2" name="Plassholder for diagram 1">
            <a:extLst>
              <a:ext uri="{FF2B5EF4-FFF2-40B4-BE49-F238E27FC236}">
                <a16:creationId xmlns:a16="http://schemas.microsoft.com/office/drawing/2014/main" id="{5BA4CC29-13D6-49E9-A49F-50067F0C517A}"/>
              </a:ext>
            </a:extLst>
          </p:cNvPr>
          <p:cNvSpPr>
            <a:spLocks noGrp="1"/>
          </p:cNvSpPr>
          <p:nvPr>
            <p:ph type="chart" sz="quarter" idx="21"/>
          </p:nvPr>
        </p:nvSpPr>
        <p:spPr>
          <a:xfrm>
            <a:off x="4804855" y="743036"/>
            <a:ext cx="6755239" cy="5363503"/>
          </a:xfrm>
          <a:prstGeom prst="rect">
            <a:avLst/>
          </a:prstGeom>
        </p:spPr>
        <p:txBody>
          <a:bodyPr lIns="0" tIns="0" rIns="0" bIns="0"/>
          <a:lstStyle/>
          <a:p>
            <a:r>
              <a:rPr lang="en-US" dirty="0"/>
              <a:t>Click icon to add chart</a:t>
            </a:r>
            <a:endParaRPr lang="nb-NO"/>
          </a:p>
        </p:txBody>
      </p:sp>
      <p:sp>
        <p:nvSpPr>
          <p:cNvPr id="14" name="Plassholder for tekst 3">
            <a:extLst>
              <a:ext uri="{FF2B5EF4-FFF2-40B4-BE49-F238E27FC236}">
                <a16:creationId xmlns:a16="http://schemas.microsoft.com/office/drawing/2014/main" id="{63A9AF0C-5C3B-4EC5-8C7C-D40E71206B81}"/>
              </a:ext>
            </a:extLst>
          </p:cNvPr>
          <p:cNvSpPr>
            <a:spLocks noGrp="1"/>
          </p:cNvSpPr>
          <p:nvPr>
            <p:ph type="body" sz="quarter" idx="22" hasCustomPrompt="1"/>
          </p:nvPr>
        </p:nvSpPr>
        <p:spPr>
          <a:xfrm>
            <a:off x="640163" y="2126974"/>
            <a:ext cx="3960000"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7621262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boxes with text (3)">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2025369" y="2153514"/>
            <a:ext cx="2569364" cy="2571433"/>
          </a:xfrm>
        </p:spPr>
        <p:txBody>
          <a:bodyPr/>
          <a:lstStyle>
            <a:lvl1pPr algn="ctr">
              <a:spcBef>
                <a:spcPts val="500"/>
              </a:spcBef>
              <a:defRPr>
                <a:solidFill>
                  <a:srgbClr val="001639"/>
                </a:solidFill>
              </a:defRPr>
            </a:lvl1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8" name="Content Placeholder 2">
            <a:extLst>
              <a:ext uri="{FF2B5EF4-FFF2-40B4-BE49-F238E27FC236}">
                <a16:creationId xmlns:a16="http://schemas.microsoft.com/office/drawing/2014/main" id="{338CF24B-85FD-4B72-B6FC-28DD1F7A2990}"/>
              </a:ext>
            </a:extLst>
          </p:cNvPr>
          <p:cNvSpPr>
            <a:spLocks noGrp="1"/>
          </p:cNvSpPr>
          <p:nvPr>
            <p:ph sz="half" idx="19"/>
          </p:nvPr>
        </p:nvSpPr>
        <p:spPr>
          <a:xfrm>
            <a:off x="4811318" y="2153514"/>
            <a:ext cx="2569364" cy="2571433"/>
          </a:xfrm>
        </p:spPr>
        <p:txBody>
          <a:bodyPr/>
          <a:lstStyle>
            <a:lvl1pPr algn="ctr">
              <a:spcBef>
                <a:spcPts val="500"/>
              </a:spcBef>
              <a:defRPr>
                <a:solidFill>
                  <a:srgbClr val="001639"/>
                </a:solidFill>
              </a:defRPr>
            </a:lvl1pPr>
          </a:lstStyle>
          <a:p>
            <a:pPr lvl="0"/>
            <a:r>
              <a:rPr lang="en-US"/>
              <a:t>Edit Master text styles</a:t>
            </a:r>
          </a:p>
        </p:txBody>
      </p:sp>
      <p:sp>
        <p:nvSpPr>
          <p:cNvPr id="11" name="Content Placeholder 2">
            <a:extLst>
              <a:ext uri="{FF2B5EF4-FFF2-40B4-BE49-F238E27FC236}">
                <a16:creationId xmlns:a16="http://schemas.microsoft.com/office/drawing/2014/main" id="{B7FD3C8F-C078-4061-806A-11C07ED8CBAF}"/>
              </a:ext>
            </a:extLst>
          </p:cNvPr>
          <p:cNvSpPr>
            <a:spLocks noGrp="1"/>
          </p:cNvSpPr>
          <p:nvPr>
            <p:ph sz="half" idx="20"/>
          </p:nvPr>
        </p:nvSpPr>
        <p:spPr>
          <a:xfrm>
            <a:off x="7597630" y="2153514"/>
            <a:ext cx="2569364" cy="2571433"/>
          </a:xfrm>
        </p:spPr>
        <p:txBody>
          <a:bodyPr/>
          <a:lstStyle>
            <a:lvl1pPr algn="ctr">
              <a:spcBef>
                <a:spcPts val="500"/>
              </a:spcBef>
              <a:defRPr>
                <a:solidFill>
                  <a:srgbClr val="001639"/>
                </a:solidFill>
              </a:defRPr>
            </a:lvl1pPr>
          </a:lstStyle>
          <a:p>
            <a:pPr lvl="0"/>
            <a:r>
              <a:rPr lang="en-US"/>
              <a:t>Edit Master text styles</a:t>
            </a:r>
          </a:p>
        </p:txBody>
      </p:sp>
      <p:sp>
        <p:nvSpPr>
          <p:cNvPr id="4" name="Plassholder for tekst 3">
            <a:extLst>
              <a:ext uri="{FF2B5EF4-FFF2-40B4-BE49-F238E27FC236}">
                <a16:creationId xmlns:a16="http://schemas.microsoft.com/office/drawing/2014/main" id="{E559D860-F41F-45ED-800B-5237CB40F114}"/>
              </a:ext>
            </a:extLst>
          </p:cNvPr>
          <p:cNvSpPr>
            <a:spLocks noGrp="1"/>
          </p:cNvSpPr>
          <p:nvPr>
            <p:ph type="body" sz="quarter" idx="21"/>
          </p:nvPr>
        </p:nvSpPr>
        <p:spPr>
          <a:xfrm>
            <a:off x="2025369" y="4891654"/>
            <a:ext cx="2569364" cy="215468"/>
          </a:xfrm>
        </p:spPr>
        <p:txBody>
          <a:bodyPr>
            <a:spAutoFit/>
          </a:bodyPr>
          <a:lstStyle>
            <a:lvl1pPr marL="0" indent="0" algn="ctr">
              <a:spcBef>
                <a:spcPts val="0"/>
              </a:spcBef>
              <a:buNone/>
              <a:defRPr sz="140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2" name="Plassholder for tekst 3">
            <a:extLst>
              <a:ext uri="{FF2B5EF4-FFF2-40B4-BE49-F238E27FC236}">
                <a16:creationId xmlns:a16="http://schemas.microsoft.com/office/drawing/2014/main" id="{9CF7DD79-5CC3-498A-B6FA-BAAD92FABDA8}"/>
              </a:ext>
            </a:extLst>
          </p:cNvPr>
          <p:cNvSpPr>
            <a:spLocks noGrp="1"/>
          </p:cNvSpPr>
          <p:nvPr>
            <p:ph type="body" sz="quarter" idx="22"/>
          </p:nvPr>
        </p:nvSpPr>
        <p:spPr>
          <a:xfrm>
            <a:off x="2025369"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3" name="Plassholder for tekst 3">
            <a:extLst>
              <a:ext uri="{FF2B5EF4-FFF2-40B4-BE49-F238E27FC236}">
                <a16:creationId xmlns:a16="http://schemas.microsoft.com/office/drawing/2014/main" id="{0B9073F5-9AFB-4345-A391-57F44032AF74}"/>
              </a:ext>
            </a:extLst>
          </p:cNvPr>
          <p:cNvSpPr>
            <a:spLocks noGrp="1"/>
          </p:cNvSpPr>
          <p:nvPr>
            <p:ph type="body" sz="quarter" idx="23"/>
          </p:nvPr>
        </p:nvSpPr>
        <p:spPr>
          <a:xfrm>
            <a:off x="4811318" y="4891654"/>
            <a:ext cx="2569364" cy="215468"/>
          </a:xfrm>
        </p:spPr>
        <p:txBody>
          <a:bodyPr>
            <a:spAutoFit/>
          </a:bodyPr>
          <a:lstStyle>
            <a:lvl1pPr marL="0" indent="0" algn="ctr">
              <a:spcBef>
                <a:spcPts val="0"/>
              </a:spcBef>
              <a:buNone/>
              <a:defRPr sz="140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4" name="Plassholder for tekst 3">
            <a:extLst>
              <a:ext uri="{FF2B5EF4-FFF2-40B4-BE49-F238E27FC236}">
                <a16:creationId xmlns:a16="http://schemas.microsoft.com/office/drawing/2014/main" id="{1A0D00AB-FC4F-4168-801D-7D6ED6DBD6C0}"/>
              </a:ext>
            </a:extLst>
          </p:cNvPr>
          <p:cNvSpPr>
            <a:spLocks noGrp="1"/>
          </p:cNvSpPr>
          <p:nvPr>
            <p:ph type="body" sz="quarter" idx="24"/>
          </p:nvPr>
        </p:nvSpPr>
        <p:spPr>
          <a:xfrm>
            <a:off x="4811318"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5" name="Plassholder for tekst 3">
            <a:extLst>
              <a:ext uri="{FF2B5EF4-FFF2-40B4-BE49-F238E27FC236}">
                <a16:creationId xmlns:a16="http://schemas.microsoft.com/office/drawing/2014/main" id="{5AA013BC-BDC1-43CE-AB26-90AD41177D8B}"/>
              </a:ext>
            </a:extLst>
          </p:cNvPr>
          <p:cNvSpPr>
            <a:spLocks noGrp="1"/>
          </p:cNvSpPr>
          <p:nvPr>
            <p:ph type="body" sz="quarter" idx="25"/>
          </p:nvPr>
        </p:nvSpPr>
        <p:spPr>
          <a:xfrm>
            <a:off x="7597630" y="4891654"/>
            <a:ext cx="2569364" cy="215468"/>
          </a:xfrm>
        </p:spPr>
        <p:txBody>
          <a:bodyPr>
            <a:spAutoFit/>
          </a:bodyPr>
          <a:lstStyle>
            <a:lvl1pPr marL="0" indent="0" algn="ctr">
              <a:spcBef>
                <a:spcPts val="0"/>
              </a:spcBef>
              <a:buNone/>
              <a:defRPr sz="140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6" name="Plassholder for tekst 3">
            <a:extLst>
              <a:ext uri="{FF2B5EF4-FFF2-40B4-BE49-F238E27FC236}">
                <a16:creationId xmlns:a16="http://schemas.microsoft.com/office/drawing/2014/main" id="{0CBB6BF9-7F76-40CF-8FDD-B6F2F3940DDB}"/>
              </a:ext>
            </a:extLst>
          </p:cNvPr>
          <p:cNvSpPr>
            <a:spLocks noGrp="1"/>
          </p:cNvSpPr>
          <p:nvPr>
            <p:ph type="body" sz="quarter" idx="26"/>
          </p:nvPr>
        </p:nvSpPr>
        <p:spPr>
          <a:xfrm>
            <a:off x="7597630"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7" name="Title 1">
            <a:extLst>
              <a:ext uri="{FF2B5EF4-FFF2-40B4-BE49-F238E27FC236}">
                <a16:creationId xmlns:a16="http://schemas.microsoft.com/office/drawing/2014/main" id="{360D47B6-C3A2-4F89-A150-1CF3E0EF7AFB}"/>
              </a:ext>
            </a:extLst>
          </p:cNvPr>
          <p:cNvSpPr>
            <a:spLocks noGrp="1"/>
          </p:cNvSpPr>
          <p:nvPr>
            <p:ph type="title"/>
          </p:nvPr>
        </p:nvSpPr>
        <p:spPr>
          <a:xfrm>
            <a:off x="2034805" y="691698"/>
            <a:ext cx="8106895" cy="507960"/>
          </a:xfrm>
        </p:spPr>
        <p:txBody>
          <a:bodyPr/>
          <a:lstStyle>
            <a:lvl1pPr>
              <a:defRPr>
                <a:solidFill>
                  <a:srgbClr val="001639"/>
                </a:solidFill>
              </a:defRPr>
            </a:lvl1pPr>
          </a:lstStyle>
          <a:p>
            <a:r>
              <a:rPr lang="en-US"/>
              <a:t>Click to edit Master title style</a:t>
            </a:r>
          </a:p>
        </p:txBody>
      </p:sp>
      <p:sp>
        <p:nvSpPr>
          <p:cNvPr id="18" name="Plassholder for tekst 10">
            <a:extLst>
              <a:ext uri="{FF2B5EF4-FFF2-40B4-BE49-F238E27FC236}">
                <a16:creationId xmlns:a16="http://schemas.microsoft.com/office/drawing/2014/main" id="{E7DB124F-DD74-42D9-BF74-9A3142F55F0A}"/>
              </a:ext>
            </a:extLst>
          </p:cNvPr>
          <p:cNvSpPr>
            <a:spLocks noGrp="1"/>
          </p:cNvSpPr>
          <p:nvPr>
            <p:ph type="body" sz="quarter" idx="16"/>
          </p:nvPr>
        </p:nvSpPr>
        <p:spPr>
          <a:xfrm>
            <a:off x="2034805" y="1140353"/>
            <a:ext cx="8106895" cy="319919"/>
          </a:xfrm>
        </p:spPr>
        <p:txBody>
          <a:bodyPr>
            <a:noAutofit/>
          </a:bodyPr>
          <a:lstStyle>
            <a:lvl1pPr marL="0" indent="0" algn="ctr">
              <a:buNone/>
              <a:defRPr sz="2000">
                <a:solidFill>
                  <a:srgbClr val="001639"/>
                </a:solidFill>
              </a:defRPr>
            </a:lvl1pPr>
          </a:lstStyle>
          <a:p>
            <a:pPr lvl="0"/>
            <a:r>
              <a:rPr lang="en-US"/>
              <a:t>Edit Master text styles</a:t>
            </a:r>
          </a:p>
        </p:txBody>
      </p:sp>
    </p:spTree>
    <p:extLst>
      <p:ext uri="{BB962C8B-B14F-4D97-AF65-F5344CB8AC3E}">
        <p14:creationId xmlns:p14="http://schemas.microsoft.com/office/powerpoint/2010/main" val="1264391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boxes with text and icon (3)">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38838" y="2153514"/>
            <a:ext cx="2569364" cy="2571433"/>
          </a:xfrm>
        </p:spPr>
        <p:txBody>
          <a:bodyPr/>
          <a:lstStyle>
            <a:lvl1pPr algn="ctr">
              <a:spcBef>
                <a:spcPts val="500"/>
              </a:spcBef>
              <a:defRPr>
                <a:solidFill>
                  <a:srgbClr val="001639"/>
                </a:solidFill>
              </a:defRPr>
            </a:lvl1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8" name="Content Placeholder 2">
            <a:extLst>
              <a:ext uri="{FF2B5EF4-FFF2-40B4-BE49-F238E27FC236}">
                <a16:creationId xmlns:a16="http://schemas.microsoft.com/office/drawing/2014/main" id="{338CF24B-85FD-4B72-B6FC-28DD1F7A2990}"/>
              </a:ext>
            </a:extLst>
          </p:cNvPr>
          <p:cNvSpPr>
            <a:spLocks noGrp="1"/>
          </p:cNvSpPr>
          <p:nvPr>
            <p:ph sz="half" idx="19"/>
          </p:nvPr>
        </p:nvSpPr>
        <p:spPr>
          <a:xfrm>
            <a:off x="4811318" y="2153514"/>
            <a:ext cx="2569364" cy="2571433"/>
          </a:xfrm>
        </p:spPr>
        <p:txBody>
          <a:bodyPr/>
          <a:lstStyle>
            <a:lvl1pPr algn="ctr">
              <a:spcBef>
                <a:spcPts val="500"/>
              </a:spcBef>
              <a:defRPr>
                <a:solidFill>
                  <a:srgbClr val="001639"/>
                </a:solidFill>
              </a:defRPr>
            </a:lvl1pPr>
          </a:lstStyle>
          <a:p>
            <a:pPr lvl="0"/>
            <a:r>
              <a:rPr lang="en-US"/>
              <a:t>Edit Master text styles</a:t>
            </a:r>
          </a:p>
        </p:txBody>
      </p:sp>
      <p:sp>
        <p:nvSpPr>
          <p:cNvPr id="11" name="Content Placeholder 2">
            <a:extLst>
              <a:ext uri="{FF2B5EF4-FFF2-40B4-BE49-F238E27FC236}">
                <a16:creationId xmlns:a16="http://schemas.microsoft.com/office/drawing/2014/main" id="{B7FD3C8F-C078-4061-806A-11C07ED8CBAF}"/>
              </a:ext>
            </a:extLst>
          </p:cNvPr>
          <p:cNvSpPr>
            <a:spLocks noGrp="1"/>
          </p:cNvSpPr>
          <p:nvPr>
            <p:ph sz="half" idx="20"/>
          </p:nvPr>
        </p:nvSpPr>
        <p:spPr>
          <a:xfrm>
            <a:off x="8984162" y="2153514"/>
            <a:ext cx="2569364" cy="2571433"/>
          </a:xfrm>
        </p:spPr>
        <p:txBody>
          <a:bodyPr/>
          <a:lstStyle>
            <a:lvl1pPr algn="ctr">
              <a:spcBef>
                <a:spcPts val="500"/>
              </a:spcBef>
              <a:defRPr>
                <a:solidFill>
                  <a:srgbClr val="001639"/>
                </a:solidFill>
              </a:defRPr>
            </a:lvl1pPr>
          </a:lstStyle>
          <a:p>
            <a:pPr lvl="0"/>
            <a:r>
              <a:rPr lang="en-US"/>
              <a:t>Edit Master text styles</a:t>
            </a:r>
          </a:p>
        </p:txBody>
      </p:sp>
      <p:sp>
        <p:nvSpPr>
          <p:cNvPr id="4" name="Plassholder for tekst 3">
            <a:extLst>
              <a:ext uri="{FF2B5EF4-FFF2-40B4-BE49-F238E27FC236}">
                <a16:creationId xmlns:a16="http://schemas.microsoft.com/office/drawing/2014/main" id="{E559D860-F41F-45ED-800B-5237CB40F114}"/>
              </a:ext>
            </a:extLst>
          </p:cNvPr>
          <p:cNvSpPr>
            <a:spLocks noGrp="1"/>
          </p:cNvSpPr>
          <p:nvPr>
            <p:ph type="body" sz="quarter" idx="21"/>
          </p:nvPr>
        </p:nvSpPr>
        <p:spPr>
          <a:xfrm>
            <a:off x="638838" y="4891654"/>
            <a:ext cx="2569364" cy="215468"/>
          </a:xfrm>
        </p:spPr>
        <p:txBody>
          <a:bodyPr>
            <a:spAutoFit/>
          </a:bodyPr>
          <a:lstStyle>
            <a:lvl1pPr marL="0" indent="0" algn="ctr">
              <a:spcBef>
                <a:spcPts val="0"/>
              </a:spcBef>
              <a:buNone/>
              <a:defRPr sz="140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2" name="Plassholder for tekst 3">
            <a:extLst>
              <a:ext uri="{FF2B5EF4-FFF2-40B4-BE49-F238E27FC236}">
                <a16:creationId xmlns:a16="http://schemas.microsoft.com/office/drawing/2014/main" id="{9CF7DD79-5CC3-498A-B6FA-BAAD92FABDA8}"/>
              </a:ext>
            </a:extLst>
          </p:cNvPr>
          <p:cNvSpPr>
            <a:spLocks noGrp="1"/>
          </p:cNvSpPr>
          <p:nvPr>
            <p:ph type="body" sz="quarter" idx="22"/>
          </p:nvPr>
        </p:nvSpPr>
        <p:spPr>
          <a:xfrm>
            <a:off x="638838"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3" name="Plassholder for tekst 3">
            <a:extLst>
              <a:ext uri="{FF2B5EF4-FFF2-40B4-BE49-F238E27FC236}">
                <a16:creationId xmlns:a16="http://schemas.microsoft.com/office/drawing/2014/main" id="{0B9073F5-9AFB-4345-A391-57F44032AF74}"/>
              </a:ext>
            </a:extLst>
          </p:cNvPr>
          <p:cNvSpPr>
            <a:spLocks noGrp="1"/>
          </p:cNvSpPr>
          <p:nvPr>
            <p:ph type="body" sz="quarter" idx="23"/>
          </p:nvPr>
        </p:nvSpPr>
        <p:spPr>
          <a:xfrm>
            <a:off x="4811318" y="4891654"/>
            <a:ext cx="2569364" cy="215468"/>
          </a:xfrm>
        </p:spPr>
        <p:txBody>
          <a:bodyPr>
            <a:spAutoFit/>
          </a:bodyPr>
          <a:lstStyle>
            <a:lvl1pPr marL="0" indent="0" algn="ctr">
              <a:spcBef>
                <a:spcPts val="0"/>
              </a:spcBef>
              <a:buNone/>
              <a:defRPr sz="140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4" name="Plassholder for tekst 3">
            <a:extLst>
              <a:ext uri="{FF2B5EF4-FFF2-40B4-BE49-F238E27FC236}">
                <a16:creationId xmlns:a16="http://schemas.microsoft.com/office/drawing/2014/main" id="{1A0D00AB-FC4F-4168-801D-7D6ED6DBD6C0}"/>
              </a:ext>
            </a:extLst>
          </p:cNvPr>
          <p:cNvSpPr>
            <a:spLocks noGrp="1"/>
          </p:cNvSpPr>
          <p:nvPr>
            <p:ph type="body" sz="quarter" idx="24"/>
          </p:nvPr>
        </p:nvSpPr>
        <p:spPr>
          <a:xfrm>
            <a:off x="4811318"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5" name="Plassholder for tekst 3">
            <a:extLst>
              <a:ext uri="{FF2B5EF4-FFF2-40B4-BE49-F238E27FC236}">
                <a16:creationId xmlns:a16="http://schemas.microsoft.com/office/drawing/2014/main" id="{5AA013BC-BDC1-43CE-AB26-90AD41177D8B}"/>
              </a:ext>
            </a:extLst>
          </p:cNvPr>
          <p:cNvSpPr>
            <a:spLocks noGrp="1"/>
          </p:cNvSpPr>
          <p:nvPr>
            <p:ph type="body" sz="quarter" idx="25"/>
          </p:nvPr>
        </p:nvSpPr>
        <p:spPr>
          <a:xfrm>
            <a:off x="8984162" y="4891654"/>
            <a:ext cx="2569364" cy="215468"/>
          </a:xfrm>
        </p:spPr>
        <p:txBody>
          <a:bodyPr>
            <a:spAutoFit/>
          </a:bodyPr>
          <a:lstStyle>
            <a:lvl1pPr marL="0" indent="0" algn="ctr">
              <a:spcBef>
                <a:spcPts val="0"/>
              </a:spcBef>
              <a:buNone/>
              <a:defRPr sz="140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6" name="Plassholder for tekst 3">
            <a:extLst>
              <a:ext uri="{FF2B5EF4-FFF2-40B4-BE49-F238E27FC236}">
                <a16:creationId xmlns:a16="http://schemas.microsoft.com/office/drawing/2014/main" id="{0CBB6BF9-7F76-40CF-8FDD-B6F2F3940DDB}"/>
              </a:ext>
            </a:extLst>
          </p:cNvPr>
          <p:cNvSpPr>
            <a:spLocks noGrp="1"/>
          </p:cNvSpPr>
          <p:nvPr>
            <p:ph type="body" sz="quarter" idx="26"/>
          </p:nvPr>
        </p:nvSpPr>
        <p:spPr>
          <a:xfrm>
            <a:off x="8984162"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7" name="Text Placeholder 16">
            <a:extLst>
              <a:ext uri="{FF2B5EF4-FFF2-40B4-BE49-F238E27FC236}">
                <a16:creationId xmlns:a16="http://schemas.microsoft.com/office/drawing/2014/main" id="{35A2A423-6735-4E43-8C6F-1D566B329624}"/>
              </a:ext>
            </a:extLst>
          </p:cNvPr>
          <p:cNvSpPr>
            <a:spLocks noGrp="1"/>
          </p:cNvSpPr>
          <p:nvPr>
            <p:ph type="body" sz="quarter" idx="28" hasCustomPrompt="1"/>
          </p:nvPr>
        </p:nvSpPr>
        <p:spPr>
          <a:xfrm rot="2700000">
            <a:off x="3709113" y="3135103"/>
            <a:ext cx="602869" cy="602878"/>
          </a:xfrm>
          <a:solidFill>
            <a:srgbClr val="001639"/>
          </a:solidFill>
        </p:spPr>
        <p:txBody>
          <a:bodyPr/>
          <a:lstStyle>
            <a:lvl1pPr marL="0" indent="0" rtl="0">
              <a:buNone/>
              <a:tabLst>
                <a:tab pos="400130" algn="l"/>
              </a:tabLst>
              <a:defRPr sz="100">
                <a:solidFill>
                  <a:srgbClr val="001639"/>
                </a:solidFill>
              </a:defRPr>
            </a:lvl1pPr>
          </a:lstStyle>
          <a:p>
            <a:pPr lvl="0"/>
            <a:r>
              <a:rPr lang="nb-NO"/>
              <a:t> </a:t>
            </a:r>
            <a:endParaRPr lang="en-GB"/>
          </a:p>
        </p:txBody>
      </p:sp>
      <p:sp>
        <p:nvSpPr>
          <p:cNvPr id="18" name="Picture Placeholder 12">
            <a:extLst>
              <a:ext uri="{FF2B5EF4-FFF2-40B4-BE49-F238E27FC236}">
                <a16:creationId xmlns:a16="http://schemas.microsoft.com/office/drawing/2014/main" id="{CC550244-8A13-46C2-B60F-B75FEEDDCE97}"/>
              </a:ext>
            </a:extLst>
          </p:cNvPr>
          <p:cNvSpPr>
            <a:spLocks noGrp="1"/>
          </p:cNvSpPr>
          <p:nvPr>
            <p:ph type="pic" sz="quarter" idx="29" hasCustomPrompt="1"/>
          </p:nvPr>
        </p:nvSpPr>
        <p:spPr>
          <a:xfrm>
            <a:off x="3792723" y="3239196"/>
            <a:ext cx="427401" cy="404538"/>
          </a:xfrm>
        </p:spPr>
        <p:txBody>
          <a:bodyPr/>
          <a:lstStyle>
            <a:lvl1pPr marL="0" indent="0" rtl="0">
              <a:buNone/>
              <a:defRPr>
                <a:solidFill>
                  <a:srgbClr val="001639"/>
                </a:solidFill>
              </a:defRPr>
            </a:lvl1pPr>
          </a:lstStyle>
          <a:p>
            <a:r>
              <a:rPr lang="nb-NO"/>
              <a:t> </a:t>
            </a:r>
            <a:endParaRPr lang="en-GB" dirty="0"/>
          </a:p>
        </p:txBody>
      </p:sp>
      <p:sp>
        <p:nvSpPr>
          <p:cNvPr id="19" name="Text Placeholder 16">
            <a:extLst>
              <a:ext uri="{FF2B5EF4-FFF2-40B4-BE49-F238E27FC236}">
                <a16:creationId xmlns:a16="http://schemas.microsoft.com/office/drawing/2014/main" id="{679FA3E0-B80C-4A16-AB99-91293479DDA1}"/>
              </a:ext>
            </a:extLst>
          </p:cNvPr>
          <p:cNvSpPr>
            <a:spLocks noGrp="1"/>
          </p:cNvSpPr>
          <p:nvPr>
            <p:ph type="body" sz="quarter" idx="30" hasCustomPrompt="1"/>
          </p:nvPr>
        </p:nvSpPr>
        <p:spPr>
          <a:xfrm rot="2700000">
            <a:off x="7891133" y="3130340"/>
            <a:ext cx="602869" cy="602878"/>
          </a:xfrm>
          <a:solidFill>
            <a:srgbClr val="001639"/>
          </a:solidFill>
        </p:spPr>
        <p:txBody>
          <a:bodyPr/>
          <a:lstStyle>
            <a:lvl1pPr marL="0" indent="0" rtl="0">
              <a:buNone/>
              <a:tabLst>
                <a:tab pos="400130" algn="l"/>
              </a:tabLst>
              <a:defRPr sz="100">
                <a:solidFill>
                  <a:srgbClr val="001639"/>
                </a:solidFill>
              </a:defRPr>
            </a:lvl1pPr>
          </a:lstStyle>
          <a:p>
            <a:pPr lvl="0"/>
            <a:r>
              <a:rPr lang="nb-NO"/>
              <a:t> </a:t>
            </a:r>
            <a:endParaRPr lang="en-GB"/>
          </a:p>
        </p:txBody>
      </p:sp>
      <p:sp>
        <p:nvSpPr>
          <p:cNvPr id="20" name="Picture Placeholder 12">
            <a:extLst>
              <a:ext uri="{FF2B5EF4-FFF2-40B4-BE49-F238E27FC236}">
                <a16:creationId xmlns:a16="http://schemas.microsoft.com/office/drawing/2014/main" id="{C86FCB76-50A7-485D-A422-E0A8E34E14CE}"/>
              </a:ext>
            </a:extLst>
          </p:cNvPr>
          <p:cNvSpPr>
            <a:spLocks noGrp="1"/>
          </p:cNvSpPr>
          <p:nvPr>
            <p:ph type="pic" sz="quarter" idx="31" hasCustomPrompt="1"/>
          </p:nvPr>
        </p:nvSpPr>
        <p:spPr>
          <a:xfrm>
            <a:off x="7974743" y="3234433"/>
            <a:ext cx="427401" cy="404538"/>
          </a:xfrm>
        </p:spPr>
        <p:txBody>
          <a:bodyPr/>
          <a:lstStyle>
            <a:lvl1pPr marL="0" indent="0" rtl="0">
              <a:buNone/>
              <a:defRPr>
                <a:solidFill>
                  <a:srgbClr val="001639"/>
                </a:solidFill>
              </a:defRPr>
            </a:lvl1pPr>
          </a:lstStyle>
          <a:p>
            <a:r>
              <a:rPr lang="nb-NO"/>
              <a:t> </a:t>
            </a:r>
            <a:endParaRPr lang="en-GB" dirty="0"/>
          </a:p>
        </p:txBody>
      </p:sp>
      <p:sp>
        <p:nvSpPr>
          <p:cNvPr id="21" name="Title 1">
            <a:extLst>
              <a:ext uri="{FF2B5EF4-FFF2-40B4-BE49-F238E27FC236}">
                <a16:creationId xmlns:a16="http://schemas.microsoft.com/office/drawing/2014/main" id="{CFC306AA-5B66-4860-AF29-D8D43AE5C5D5}"/>
              </a:ext>
            </a:extLst>
          </p:cNvPr>
          <p:cNvSpPr>
            <a:spLocks noGrp="1"/>
          </p:cNvSpPr>
          <p:nvPr>
            <p:ph type="title"/>
          </p:nvPr>
        </p:nvSpPr>
        <p:spPr>
          <a:xfrm>
            <a:off x="2034805" y="691698"/>
            <a:ext cx="8106895" cy="507960"/>
          </a:xfrm>
        </p:spPr>
        <p:txBody>
          <a:bodyPr/>
          <a:lstStyle>
            <a:lvl1pPr>
              <a:defRPr>
                <a:solidFill>
                  <a:srgbClr val="001639"/>
                </a:solidFill>
              </a:defRPr>
            </a:lvl1pPr>
          </a:lstStyle>
          <a:p>
            <a:r>
              <a:rPr lang="en-US"/>
              <a:t>Click to edit Master title style</a:t>
            </a:r>
          </a:p>
        </p:txBody>
      </p:sp>
      <p:sp>
        <p:nvSpPr>
          <p:cNvPr id="22" name="Plassholder for tekst 10">
            <a:extLst>
              <a:ext uri="{FF2B5EF4-FFF2-40B4-BE49-F238E27FC236}">
                <a16:creationId xmlns:a16="http://schemas.microsoft.com/office/drawing/2014/main" id="{C61A1C00-E038-4BA5-8E4A-753005E661A1}"/>
              </a:ext>
            </a:extLst>
          </p:cNvPr>
          <p:cNvSpPr>
            <a:spLocks noGrp="1"/>
          </p:cNvSpPr>
          <p:nvPr>
            <p:ph type="body" sz="quarter" idx="16"/>
          </p:nvPr>
        </p:nvSpPr>
        <p:spPr>
          <a:xfrm>
            <a:off x="2034805" y="1140353"/>
            <a:ext cx="8106895" cy="319919"/>
          </a:xfrm>
        </p:spPr>
        <p:txBody>
          <a:bodyPr>
            <a:noAutofit/>
          </a:bodyPr>
          <a:lstStyle>
            <a:lvl1pPr marL="0" indent="0" algn="ctr">
              <a:buNone/>
              <a:defRPr sz="2000">
                <a:solidFill>
                  <a:srgbClr val="001639"/>
                </a:solidFill>
              </a:defRPr>
            </a:lvl1pPr>
          </a:lstStyle>
          <a:p>
            <a:pPr lvl="0"/>
            <a:r>
              <a:rPr lang="en-US"/>
              <a:t>Edit Master text styles</a:t>
            </a:r>
          </a:p>
        </p:txBody>
      </p:sp>
    </p:spTree>
    <p:extLst>
      <p:ext uri="{BB962C8B-B14F-4D97-AF65-F5344CB8AC3E}">
        <p14:creationId xmlns:p14="http://schemas.microsoft.com/office/powerpoint/2010/main" val="31203888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hite - 2">
    <p:bg>
      <p:bgPr>
        <a:solidFill>
          <a:schemeClr val="bg1"/>
        </a:solidFill>
        <a:effectLst/>
      </p:bgPr>
    </p:bg>
    <p:spTree>
      <p:nvGrpSpPr>
        <p:cNvPr id="1" name=""/>
        <p:cNvGrpSpPr/>
        <p:nvPr/>
      </p:nvGrpSpPr>
      <p:grpSpPr>
        <a:xfrm>
          <a:off x="0" y="0"/>
          <a:ext cx="0" cy="0"/>
          <a:chOff x="0" y="0"/>
          <a:chExt cx="0" cy="0"/>
        </a:xfrm>
      </p:grpSpPr>
      <p:pic>
        <p:nvPicPr>
          <p:cNvPr id="5" name="Bilde 4" descr="Et bilde som inneholder tre, utendørs, plante, grønn&#10;&#10;Beskrivelse som er generert med svært høy visshet">
            <a:extLst>
              <a:ext uri="{FF2B5EF4-FFF2-40B4-BE49-F238E27FC236}">
                <a16:creationId xmlns:a16="http://schemas.microsoft.com/office/drawing/2014/main" id="{1043CE78-E480-438B-8AA1-2030DAA4A00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4195" b="26847"/>
          <a:stretch/>
        </p:blipFill>
        <p:spPr>
          <a:xfrm flipH="1">
            <a:off x="0" y="750656"/>
            <a:ext cx="12192000" cy="5391063"/>
          </a:xfrm>
          <a:prstGeom prst="rect">
            <a:avLst/>
          </a:prstGeom>
        </p:spPr>
      </p:pic>
      <p:sp>
        <p:nvSpPr>
          <p:cNvPr id="12" name="Plassholder for tekst 10">
            <a:extLst>
              <a:ext uri="{FF2B5EF4-FFF2-40B4-BE49-F238E27FC236}">
                <a16:creationId xmlns:a16="http://schemas.microsoft.com/office/drawing/2014/main" id="{FA3D0B6C-5A15-4C92-8C24-C9BD33CE12CE}"/>
              </a:ext>
            </a:extLst>
          </p:cNvPr>
          <p:cNvSpPr>
            <a:spLocks noGrp="1"/>
          </p:cNvSpPr>
          <p:nvPr>
            <p:ph type="body" sz="quarter" idx="11" hasCustomPrompt="1"/>
          </p:nvPr>
        </p:nvSpPr>
        <p:spPr>
          <a:xfrm>
            <a:off x="1819512" y="750657"/>
            <a:ext cx="4377307" cy="5391063"/>
          </a:xfrm>
          <a:solidFill>
            <a:schemeClr val="bg1"/>
          </a:solidFill>
        </p:spPr>
        <p:txBody>
          <a:bodyPr anchor="b" anchorCtr="0"/>
          <a:lstStyle>
            <a:lvl1pPr marL="0" indent="0" algn="ctr">
              <a:lnSpc>
                <a:spcPct val="120000"/>
              </a:lnSpc>
              <a:spcBef>
                <a:spcPts val="0"/>
              </a:spcBef>
              <a:buNone/>
              <a:defRPr sz="1400">
                <a:solidFill>
                  <a:srgbClr val="737B92"/>
                </a:solidFill>
                <a:latin typeface="Calibri" panose="020F0502020204030204" pitchFamily="34" charset="0"/>
                <a:cs typeface="Calibri" panose="020F0502020204030204" pitchFamily="34" charset="0"/>
              </a:defRPr>
            </a:lvl1pPr>
          </a:lstStyle>
          <a:p>
            <a:pPr lvl="0"/>
            <a:r>
              <a:rPr lang="en-GB"/>
              <a:t>Name, title</a:t>
            </a:r>
          </a:p>
        </p:txBody>
      </p:sp>
      <p:sp>
        <p:nvSpPr>
          <p:cNvPr id="3" name="Subtitle 2"/>
          <p:cNvSpPr>
            <a:spLocks noGrp="1"/>
          </p:cNvSpPr>
          <p:nvPr>
            <p:ph type="subTitle" idx="1" hasCustomPrompt="1"/>
          </p:nvPr>
        </p:nvSpPr>
        <p:spPr>
          <a:xfrm>
            <a:off x="2167220" y="2675466"/>
            <a:ext cx="3694641" cy="215468"/>
          </a:xfrm>
        </p:spPr>
        <p:txBody>
          <a:bodyPr wrap="square" anchor="b" anchorCtr="0">
            <a:spAutoFit/>
          </a:bodyPr>
          <a:lstStyle>
            <a:lvl1pPr marL="0" indent="0" algn="ctr">
              <a:buNone/>
              <a:defRPr sz="1400" cap="all" spc="105" baseline="0">
                <a:solidFill>
                  <a:srgbClr val="737B92"/>
                </a:solidFill>
                <a:latin typeface="Calibri" panose="020F0502020204030204" pitchFamily="34" charset="0"/>
                <a:cs typeface="Calibri" panose="020F0502020204030204"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SUBHEADLINE OPTIONAL</a:t>
            </a:r>
            <a:endParaRPr lang="en-US"/>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2167220" y="3943998"/>
            <a:ext cx="3694641" cy="307777"/>
          </a:xfrm>
        </p:spPr>
        <p:txBody>
          <a:bodyPr>
            <a:spAutoFit/>
          </a:bodyPr>
          <a:lstStyle>
            <a:lvl1pPr algn="ctr">
              <a:defRPr sz="1400">
                <a:solidFill>
                  <a:srgbClr val="737B92"/>
                </a:solidFill>
                <a:latin typeface="Calibri" panose="020F0502020204030204" pitchFamily="34" charset="0"/>
                <a:cs typeface="Calibri" panose="020F0502020204030204" pitchFamily="34" charset="0"/>
              </a:defRPr>
            </a:lvl1pPr>
          </a:lstStyle>
          <a:p>
            <a:fld id="{2B7489E5-72CC-4085-8A48-F641872D3FF9}" type="datetime1">
              <a:rPr lang="en-GB" smtClean="0"/>
              <a:pPr/>
              <a:t>06/06/2022</a:t>
            </a:fld>
            <a:endParaRPr lang="nb-NO"/>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3599529" y="750798"/>
            <a:ext cx="826117" cy="829153"/>
          </a:xfrm>
          <a:prstGeom prst="rect">
            <a:avLst/>
          </a:prstGeom>
          <a:blipFill>
            <a:blip r:embed="rId3"/>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A177778B-3F56-42E4-A061-05619FDB16BE}"/>
              </a:ext>
            </a:extLst>
          </p:cNvPr>
          <p:cNvSpPr>
            <a:spLocks noGrp="1"/>
          </p:cNvSpPr>
          <p:nvPr>
            <p:ph type="body" sz="quarter" idx="14"/>
          </p:nvPr>
        </p:nvSpPr>
        <p:spPr>
          <a:xfrm>
            <a:off x="2167220" y="3088539"/>
            <a:ext cx="3694641" cy="936117"/>
          </a:xfrm>
        </p:spPr>
        <p:txBody>
          <a:bodyPr lIns="0" tIns="0" rIns="0" bIns="0">
            <a:normAutofit/>
          </a:bodyPr>
          <a:lstStyle>
            <a:lvl1pPr marL="0" indent="0" algn="ctr">
              <a:lnSpc>
                <a:spcPct val="88000"/>
              </a:lnSpc>
              <a:buNone/>
              <a:defRPr sz="3000" b="1">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pic>
        <p:nvPicPr>
          <p:cNvPr id="9" name="Bilde 8" descr="Et bilde som inneholder objekt&#10;&#10;Beskrivelse som er generert med høy visshet">
            <a:extLst>
              <a:ext uri="{FF2B5EF4-FFF2-40B4-BE49-F238E27FC236}">
                <a16:creationId xmlns:a16="http://schemas.microsoft.com/office/drawing/2014/main" id="{B48CA2DC-E4AD-4D29-B5F0-34E2B4216F4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4518514"/>
            <a:ext cx="12192000" cy="2339486"/>
          </a:xfrm>
          <a:prstGeom prst="rect">
            <a:avLst/>
          </a:prstGeom>
        </p:spPr>
      </p:pic>
      <p:sp>
        <p:nvSpPr>
          <p:cNvPr id="13" name="TekstSylinder 12">
            <a:extLst>
              <a:ext uri="{FF2B5EF4-FFF2-40B4-BE49-F238E27FC236}">
                <a16:creationId xmlns:a16="http://schemas.microsoft.com/office/drawing/2014/main" id="{2294D3DB-FA93-4D6E-872F-F4A87B0CAE5D}"/>
              </a:ext>
            </a:extLst>
          </p:cNvPr>
          <p:cNvSpPr txBox="1"/>
          <p:nvPr userDrawn="1"/>
        </p:nvSpPr>
        <p:spPr>
          <a:xfrm>
            <a:off x="1819512" y="6367463"/>
            <a:ext cx="4377307" cy="317074"/>
          </a:xfrm>
          <a:prstGeom prst="rect">
            <a:avLst/>
          </a:prstGeom>
          <a:noFill/>
        </p:spPr>
        <p:txBody>
          <a:bodyPr wrap="square" lIns="144000" rIns="144000" rtlCol="0">
            <a:spAutoFit/>
          </a:bodyPr>
          <a:lstStyle/>
          <a:p>
            <a:pPr algn="ctr">
              <a:lnSpc>
                <a:spcPct val="110000"/>
              </a:lnSpc>
            </a:pPr>
            <a:r>
              <a:rPr lang="en-GB" sz="450" b="1" i="0" kern="1200" spc="20" baseline="0" dirty="0">
                <a:solidFill>
                  <a:srgbClr val="001639"/>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rgbClr val="001639"/>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450" b="0" i="0" kern="1200" spc="20" baseline="0" dirty="0">
                <a:solidFill>
                  <a:srgbClr val="001639"/>
                </a:solidFill>
                <a:effectLst/>
                <a:latin typeface="Calibri" panose="020F0502020204030204" pitchFamily="34" charset="0"/>
                <a:ea typeface="+mn-ea"/>
                <a:cs typeface="Calibri" panose="020F0502020204030204" pitchFamily="34" charset="0"/>
              </a:rPr>
            </a:br>
            <a:r>
              <a:rPr lang="en-GB" sz="450" b="0" i="0" kern="1200" spc="20" baseline="0" dirty="0">
                <a:solidFill>
                  <a:srgbClr val="001639"/>
                </a:solidFill>
                <a:effectLst/>
                <a:latin typeface="Calibri" panose="020F0502020204030204" pitchFamily="34" charset="0"/>
                <a:ea typeface="+mn-ea"/>
                <a:cs typeface="Calibri" panose="020F0502020204030204" pitchFamily="34" charset="0"/>
              </a:rPr>
              <a:t>© 2018 KONGSBERG – All rights reserved</a:t>
            </a:r>
            <a:r>
              <a:rPr lang="en-GB" sz="450" b="0" i="0" kern="1200" dirty="0">
                <a:solidFill>
                  <a:srgbClr val="001639"/>
                </a:solidFill>
                <a:effectLst/>
                <a:latin typeface="Calibri" panose="020F0502020204030204" pitchFamily="34" charset="0"/>
                <a:ea typeface="+mn-ea"/>
                <a:cs typeface="Calibri" panose="020F0502020204030204" pitchFamily="34" charset="0"/>
              </a:rPr>
              <a:t>.</a:t>
            </a:r>
            <a:endParaRPr lang="nb-NO">
              <a:solidFill>
                <a:srgbClr val="0016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092046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boxes with text (4)">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35808" y="2153514"/>
            <a:ext cx="2569364" cy="2571433"/>
          </a:xfrm>
        </p:spPr>
        <p:txBody>
          <a:bodyPr/>
          <a:lstStyle>
            <a:lvl1pPr algn="ctr">
              <a:spcBef>
                <a:spcPts val="500"/>
              </a:spcBef>
              <a:defRPr>
                <a:solidFill>
                  <a:srgbClr val="001639"/>
                </a:solidFill>
              </a:defRPr>
            </a:lvl1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8" name="Content Placeholder 2">
            <a:extLst>
              <a:ext uri="{FF2B5EF4-FFF2-40B4-BE49-F238E27FC236}">
                <a16:creationId xmlns:a16="http://schemas.microsoft.com/office/drawing/2014/main" id="{338CF24B-85FD-4B72-B6FC-28DD1F7A2990}"/>
              </a:ext>
            </a:extLst>
          </p:cNvPr>
          <p:cNvSpPr>
            <a:spLocks noGrp="1"/>
          </p:cNvSpPr>
          <p:nvPr>
            <p:ph sz="half" idx="19"/>
          </p:nvPr>
        </p:nvSpPr>
        <p:spPr>
          <a:xfrm>
            <a:off x="3417879" y="2153514"/>
            <a:ext cx="2569364" cy="2571433"/>
          </a:xfrm>
        </p:spPr>
        <p:txBody>
          <a:bodyPr/>
          <a:lstStyle>
            <a:lvl1pPr algn="ctr">
              <a:spcBef>
                <a:spcPts val="500"/>
              </a:spcBef>
              <a:defRPr>
                <a:solidFill>
                  <a:srgbClr val="001639"/>
                </a:solidFill>
              </a:defRPr>
            </a:lvl1pPr>
          </a:lstStyle>
          <a:p>
            <a:pPr lvl="0"/>
            <a:r>
              <a:rPr lang="en-US"/>
              <a:t>Edit Master text styles</a:t>
            </a:r>
          </a:p>
        </p:txBody>
      </p:sp>
      <p:sp>
        <p:nvSpPr>
          <p:cNvPr id="4" name="Plassholder for tekst 3">
            <a:extLst>
              <a:ext uri="{FF2B5EF4-FFF2-40B4-BE49-F238E27FC236}">
                <a16:creationId xmlns:a16="http://schemas.microsoft.com/office/drawing/2014/main" id="{E559D860-F41F-45ED-800B-5237CB40F114}"/>
              </a:ext>
            </a:extLst>
          </p:cNvPr>
          <p:cNvSpPr>
            <a:spLocks noGrp="1"/>
          </p:cNvSpPr>
          <p:nvPr>
            <p:ph type="body" sz="quarter" idx="21"/>
          </p:nvPr>
        </p:nvSpPr>
        <p:spPr>
          <a:xfrm>
            <a:off x="635808" y="4891654"/>
            <a:ext cx="2569364" cy="215468"/>
          </a:xfrm>
        </p:spPr>
        <p:txBody>
          <a:bodyPr>
            <a:spAutoFit/>
          </a:bodyPr>
          <a:lstStyle>
            <a:lvl1pPr marL="0" indent="0" algn="ctr">
              <a:spcBef>
                <a:spcPts val="0"/>
              </a:spcBef>
              <a:buNone/>
              <a:defRPr sz="140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2" name="Plassholder for tekst 3">
            <a:extLst>
              <a:ext uri="{FF2B5EF4-FFF2-40B4-BE49-F238E27FC236}">
                <a16:creationId xmlns:a16="http://schemas.microsoft.com/office/drawing/2014/main" id="{9CF7DD79-5CC3-498A-B6FA-BAAD92FABDA8}"/>
              </a:ext>
            </a:extLst>
          </p:cNvPr>
          <p:cNvSpPr>
            <a:spLocks noGrp="1"/>
          </p:cNvSpPr>
          <p:nvPr>
            <p:ph type="body" sz="quarter" idx="22"/>
          </p:nvPr>
        </p:nvSpPr>
        <p:spPr>
          <a:xfrm>
            <a:off x="635808"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3" name="Plassholder for tekst 3">
            <a:extLst>
              <a:ext uri="{FF2B5EF4-FFF2-40B4-BE49-F238E27FC236}">
                <a16:creationId xmlns:a16="http://schemas.microsoft.com/office/drawing/2014/main" id="{0B9073F5-9AFB-4345-A391-57F44032AF74}"/>
              </a:ext>
            </a:extLst>
          </p:cNvPr>
          <p:cNvSpPr>
            <a:spLocks noGrp="1"/>
          </p:cNvSpPr>
          <p:nvPr>
            <p:ph type="body" sz="quarter" idx="23"/>
          </p:nvPr>
        </p:nvSpPr>
        <p:spPr>
          <a:xfrm>
            <a:off x="3417879" y="4891654"/>
            <a:ext cx="2569364" cy="215468"/>
          </a:xfrm>
        </p:spPr>
        <p:txBody>
          <a:bodyPr>
            <a:spAutoFit/>
          </a:bodyPr>
          <a:lstStyle>
            <a:lvl1pPr marL="0" indent="0" algn="ctr">
              <a:spcBef>
                <a:spcPts val="0"/>
              </a:spcBef>
              <a:buNone/>
              <a:defRPr sz="140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4" name="Plassholder for tekst 3">
            <a:extLst>
              <a:ext uri="{FF2B5EF4-FFF2-40B4-BE49-F238E27FC236}">
                <a16:creationId xmlns:a16="http://schemas.microsoft.com/office/drawing/2014/main" id="{1A0D00AB-FC4F-4168-801D-7D6ED6DBD6C0}"/>
              </a:ext>
            </a:extLst>
          </p:cNvPr>
          <p:cNvSpPr>
            <a:spLocks noGrp="1"/>
          </p:cNvSpPr>
          <p:nvPr>
            <p:ph type="body" sz="quarter" idx="24"/>
          </p:nvPr>
        </p:nvSpPr>
        <p:spPr>
          <a:xfrm>
            <a:off x="3417879"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7" name="Content Placeholder 2">
            <a:extLst>
              <a:ext uri="{FF2B5EF4-FFF2-40B4-BE49-F238E27FC236}">
                <a16:creationId xmlns:a16="http://schemas.microsoft.com/office/drawing/2014/main" id="{9FBD5467-86AE-470B-9EF7-404D4DED48DD}"/>
              </a:ext>
            </a:extLst>
          </p:cNvPr>
          <p:cNvSpPr>
            <a:spLocks noGrp="1"/>
          </p:cNvSpPr>
          <p:nvPr>
            <p:ph sz="half" idx="25"/>
          </p:nvPr>
        </p:nvSpPr>
        <p:spPr>
          <a:xfrm>
            <a:off x="6198182" y="2159470"/>
            <a:ext cx="2569364" cy="2571433"/>
          </a:xfrm>
        </p:spPr>
        <p:txBody>
          <a:bodyPr/>
          <a:lstStyle>
            <a:lvl1pPr algn="ctr">
              <a:spcBef>
                <a:spcPts val="500"/>
              </a:spcBef>
              <a:defRPr>
                <a:solidFill>
                  <a:srgbClr val="001639"/>
                </a:solidFill>
              </a:defRPr>
            </a:lvl1pPr>
          </a:lstStyle>
          <a:p>
            <a:pPr lvl="0"/>
            <a:r>
              <a:rPr lang="en-US"/>
              <a:t>Edit Master text styles</a:t>
            </a:r>
          </a:p>
        </p:txBody>
      </p:sp>
      <p:sp>
        <p:nvSpPr>
          <p:cNvPr id="18" name="Content Placeholder 2">
            <a:extLst>
              <a:ext uri="{FF2B5EF4-FFF2-40B4-BE49-F238E27FC236}">
                <a16:creationId xmlns:a16="http://schemas.microsoft.com/office/drawing/2014/main" id="{D203E7A1-4480-485E-9AE8-CEDC8A608A34}"/>
              </a:ext>
            </a:extLst>
          </p:cNvPr>
          <p:cNvSpPr>
            <a:spLocks noGrp="1"/>
          </p:cNvSpPr>
          <p:nvPr>
            <p:ph sz="half" idx="26"/>
          </p:nvPr>
        </p:nvSpPr>
        <p:spPr>
          <a:xfrm>
            <a:off x="8980253" y="2159470"/>
            <a:ext cx="2569364" cy="2571433"/>
          </a:xfrm>
        </p:spPr>
        <p:txBody>
          <a:bodyPr/>
          <a:lstStyle>
            <a:lvl1pPr algn="ctr">
              <a:spcBef>
                <a:spcPts val="500"/>
              </a:spcBef>
              <a:defRPr>
                <a:solidFill>
                  <a:srgbClr val="001639"/>
                </a:solidFill>
              </a:defRPr>
            </a:lvl1pPr>
          </a:lstStyle>
          <a:p>
            <a:pPr lvl="0"/>
            <a:r>
              <a:rPr lang="en-US"/>
              <a:t>Edit Master text styles</a:t>
            </a:r>
          </a:p>
        </p:txBody>
      </p:sp>
      <p:sp>
        <p:nvSpPr>
          <p:cNvPr id="19" name="Plassholder for tekst 3">
            <a:extLst>
              <a:ext uri="{FF2B5EF4-FFF2-40B4-BE49-F238E27FC236}">
                <a16:creationId xmlns:a16="http://schemas.microsoft.com/office/drawing/2014/main" id="{05F8D07D-7E68-42CE-A984-D143225D3C1C}"/>
              </a:ext>
            </a:extLst>
          </p:cNvPr>
          <p:cNvSpPr>
            <a:spLocks noGrp="1"/>
          </p:cNvSpPr>
          <p:nvPr>
            <p:ph type="body" sz="quarter" idx="27"/>
          </p:nvPr>
        </p:nvSpPr>
        <p:spPr>
          <a:xfrm>
            <a:off x="6198182" y="4891654"/>
            <a:ext cx="2569364" cy="215468"/>
          </a:xfrm>
        </p:spPr>
        <p:txBody>
          <a:bodyPr>
            <a:spAutoFit/>
          </a:bodyPr>
          <a:lstStyle>
            <a:lvl1pPr marL="0" indent="0" algn="ctr">
              <a:spcBef>
                <a:spcPts val="0"/>
              </a:spcBef>
              <a:buNone/>
              <a:defRPr sz="140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0" name="Plassholder for tekst 3">
            <a:extLst>
              <a:ext uri="{FF2B5EF4-FFF2-40B4-BE49-F238E27FC236}">
                <a16:creationId xmlns:a16="http://schemas.microsoft.com/office/drawing/2014/main" id="{441FAC80-D31E-4FB4-A07A-D2F30B599A05}"/>
              </a:ext>
            </a:extLst>
          </p:cNvPr>
          <p:cNvSpPr>
            <a:spLocks noGrp="1"/>
          </p:cNvSpPr>
          <p:nvPr>
            <p:ph type="body" sz="quarter" idx="28"/>
          </p:nvPr>
        </p:nvSpPr>
        <p:spPr>
          <a:xfrm>
            <a:off x="6198182"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1" name="Plassholder for tekst 3">
            <a:extLst>
              <a:ext uri="{FF2B5EF4-FFF2-40B4-BE49-F238E27FC236}">
                <a16:creationId xmlns:a16="http://schemas.microsoft.com/office/drawing/2014/main" id="{15B89517-D6A2-4CED-919A-A87886AFAF23}"/>
              </a:ext>
            </a:extLst>
          </p:cNvPr>
          <p:cNvSpPr>
            <a:spLocks noGrp="1"/>
          </p:cNvSpPr>
          <p:nvPr>
            <p:ph type="body" sz="quarter" idx="29"/>
          </p:nvPr>
        </p:nvSpPr>
        <p:spPr>
          <a:xfrm>
            <a:off x="8980253" y="4891654"/>
            <a:ext cx="2569364" cy="215468"/>
          </a:xfrm>
        </p:spPr>
        <p:txBody>
          <a:bodyPr>
            <a:spAutoFit/>
          </a:bodyPr>
          <a:lstStyle>
            <a:lvl1pPr marL="0" indent="0" algn="ctr">
              <a:spcBef>
                <a:spcPts val="0"/>
              </a:spcBef>
              <a:buNone/>
              <a:defRPr sz="1400" b="1" cap="all"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2" name="Plassholder for tekst 3">
            <a:extLst>
              <a:ext uri="{FF2B5EF4-FFF2-40B4-BE49-F238E27FC236}">
                <a16:creationId xmlns:a16="http://schemas.microsoft.com/office/drawing/2014/main" id="{CEF697D1-58DB-477B-8E6F-34DA3D7B16F1}"/>
              </a:ext>
            </a:extLst>
          </p:cNvPr>
          <p:cNvSpPr>
            <a:spLocks noGrp="1"/>
          </p:cNvSpPr>
          <p:nvPr>
            <p:ph type="body" sz="quarter" idx="30"/>
          </p:nvPr>
        </p:nvSpPr>
        <p:spPr>
          <a:xfrm>
            <a:off x="8980253" y="5231418"/>
            <a:ext cx="2569364" cy="876719"/>
          </a:xfrm>
        </p:spPr>
        <p:txBody>
          <a:bodyPr>
            <a:noAutofit/>
          </a:bodyPr>
          <a:lstStyle>
            <a:lvl1pPr marL="0" indent="0" algn="ctr">
              <a:lnSpc>
                <a:spcPct val="95000"/>
              </a:lnSpc>
              <a:spcBef>
                <a:spcPts val="0"/>
              </a:spcBef>
              <a:spcAft>
                <a:spcPts val="400"/>
              </a:spcAft>
              <a:buNone/>
              <a:defRPr sz="1150" b="0" cap="none" baseline="0">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3" name="Title 1">
            <a:extLst>
              <a:ext uri="{FF2B5EF4-FFF2-40B4-BE49-F238E27FC236}">
                <a16:creationId xmlns:a16="http://schemas.microsoft.com/office/drawing/2014/main" id="{A3DE8B9D-C8D7-43BC-BEC4-427418570F2E}"/>
              </a:ext>
            </a:extLst>
          </p:cNvPr>
          <p:cNvSpPr>
            <a:spLocks noGrp="1"/>
          </p:cNvSpPr>
          <p:nvPr>
            <p:ph type="title"/>
          </p:nvPr>
        </p:nvSpPr>
        <p:spPr>
          <a:xfrm>
            <a:off x="2034805" y="691698"/>
            <a:ext cx="8106895" cy="507960"/>
          </a:xfrm>
        </p:spPr>
        <p:txBody>
          <a:bodyPr/>
          <a:lstStyle>
            <a:lvl1pPr>
              <a:defRPr>
                <a:solidFill>
                  <a:srgbClr val="001639"/>
                </a:solidFill>
              </a:defRPr>
            </a:lvl1pPr>
          </a:lstStyle>
          <a:p>
            <a:r>
              <a:rPr lang="en-US"/>
              <a:t>Click to edit Master title style</a:t>
            </a:r>
          </a:p>
        </p:txBody>
      </p:sp>
      <p:sp>
        <p:nvSpPr>
          <p:cNvPr id="24" name="Plassholder for tekst 10">
            <a:extLst>
              <a:ext uri="{FF2B5EF4-FFF2-40B4-BE49-F238E27FC236}">
                <a16:creationId xmlns:a16="http://schemas.microsoft.com/office/drawing/2014/main" id="{E1698C27-24F2-47BA-B0A5-353C13DECBA6}"/>
              </a:ext>
            </a:extLst>
          </p:cNvPr>
          <p:cNvSpPr>
            <a:spLocks noGrp="1"/>
          </p:cNvSpPr>
          <p:nvPr>
            <p:ph type="body" sz="quarter" idx="16"/>
          </p:nvPr>
        </p:nvSpPr>
        <p:spPr>
          <a:xfrm>
            <a:off x="2034805" y="1140353"/>
            <a:ext cx="8106895" cy="319919"/>
          </a:xfrm>
        </p:spPr>
        <p:txBody>
          <a:bodyPr>
            <a:noAutofit/>
          </a:bodyPr>
          <a:lstStyle>
            <a:lvl1pPr marL="0" indent="0" algn="ctr">
              <a:buNone/>
              <a:defRPr sz="2000">
                <a:solidFill>
                  <a:srgbClr val="001639"/>
                </a:solidFill>
              </a:defRPr>
            </a:lvl1pPr>
          </a:lstStyle>
          <a:p>
            <a:pPr lvl="0"/>
            <a:r>
              <a:rPr lang="en-US"/>
              <a:t>Edit Master text styles</a:t>
            </a:r>
          </a:p>
        </p:txBody>
      </p:sp>
    </p:spTree>
    <p:extLst>
      <p:ext uri="{BB962C8B-B14F-4D97-AF65-F5344CB8AC3E}">
        <p14:creationId xmlns:p14="http://schemas.microsoft.com/office/powerpoint/2010/main" val="205533247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New chapter, light blue">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1586821-BABB-446F-A766-D818BB160D8E}"/>
              </a:ext>
            </a:extLst>
          </p:cNvPr>
          <p:cNvSpPr>
            <a:spLocks noGrp="1"/>
          </p:cNvSpPr>
          <p:nvPr>
            <p:ph type="pic" sz="quarter" idx="14"/>
          </p:nvPr>
        </p:nvSpPr>
        <p:spPr>
          <a:xfrm>
            <a:off x="3415951" y="750180"/>
            <a:ext cx="8776049" cy="5360814"/>
          </a:xfrm>
          <a:solidFill>
            <a:schemeClr val="bg1">
              <a:lumMod val="85000"/>
            </a:schemeClr>
          </a:solidFill>
        </p:spPr>
        <p:txBody>
          <a:bodyPr/>
          <a:lstStyle/>
          <a:p>
            <a:r>
              <a:rPr lang="en-US" dirty="0"/>
              <a:t>Click icon to add picture</a:t>
            </a:r>
            <a:endParaRPr lang="en-GB" dirty="0"/>
          </a:p>
        </p:txBody>
      </p:sp>
      <p:sp>
        <p:nvSpPr>
          <p:cNvPr id="10" name="Plassholder for tekst 9">
            <a:extLst>
              <a:ext uri="{FF2B5EF4-FFF2-40B4-BE49-F238E27FC236}">
                <a16:creationId xmlns:a16="http://schemas.microsoft.com/office/drawing/2014/main" id="{5BC4EAD5-22F8-46C2-A008-4387788BD211}"/>
              </a:ext>
            </a:extLst>
          </p:cNvPr>
          <p:cNvSpPr>
            <a:spLocks noGrp="1"/>
          </p:cNvSpPr>
          <p:nvPr>
            <p:ph type="body" sz="quarter" idx="16" hasCustomPrompt="1"/>
          </p:nvPr>
        </p:nvSpPr>
        <p:spPr>
          <a:xfrm>
            <a:off x="436302" y="1240776"/>
            <a:ext cx="4371211" cy="4377307"/>
          </a:xfrm>
          <a:prstGeom prst="rect">
            <a:avLst/>
          </a:prstGeom>
          <a:solidFill>
            <a:srgbClr val="50BFD1"/>
          </a:solid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2" name="Plassholder for tekst 16">
            <a:extLst>
              <a:ext uri="{FF2B5EF4-FFF2-40B4-BE49-F238E27FC236}">
                <a16:creationId xmlns:a16="http://schemas.microsoft.com/office/drawing/2014/main" id="{EB48F78F-2FC1-471F-BC69-875A65C545B8}"/>
              </a:ext>
            </a:extLst>
          </p:cNvPr>
          <p:cNvSpPr>
            <a:spLocks noGrp="1"/>
          </p:cNvSpPr>
          <p:nvPr>
            <p:ph type="body" sz="quarter" idx="13" hasCustomPrompt="1"/>
          </p:nvPr>
        </p:nvSpPr>
        <p:spPr>
          <a:xfrm>
            <a:off x="2230926" y="1658953"/>
            <a:ext cx="826117" cy="829153"/>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7" name="Plassholder for tekst 6">
            <a:extLst>
              <a:ext uri="{FF2B5EF4-FFF2-40B4-BE49-F238E27FC236}">
                <a16:creationId xmlns:a16="http://schemas.microsoft.com/office/drawing/2014/main" id="{2EFEFDD2-D973-4469-958B-0D5B490E85CD}"/>
              </a:ext>
            </a:extLst>
          </p:cNvPr>
          <p:cNvSpPr>
            <a:spLocks noGrp="1"/>
          </p:cNvSpPr>
          <p:nvPr>
            <p:ph type="body" sz="quarter" idx="15"/>
          </p:nvPr>
        </p:nvSpPr>
        <p:spPr>
          <a:xfrm>
            <a:off x="436301" y="2488107"/>
            <a:ext cx="4372069" cy="2918283"/>
          </a:xfrm>
        </p:spPr>
        <p:txBody>
          <a:bodyPr lIns="360000" rIns="360000" bIns="432000" anchor="b" anchorCtr="0">
            <a:normAutofit/>
          </a:bodyPr>
          <a:lstStyle>
            <a:lvl1pPr marL="0" indent="0" algn="ctr">
              <a:lnSpc>
                <a:spcPct val="120000"/>
              </a:lnSpc>
              <a:buNone/>
              <a:defRPr sz="3000" b="1">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sp>
        <p:nvSpPr>
          <p:cNvPr id="6" name="TekstSylinder 5">
            <a:extLst>
              <a:ext uri="{FF2B5EF4-FFF2-40B4-BE49-F238E27FC236}">
                <a16:creationId xmlns:a16="http://schemas.microsoft.com/office/drawing/2014/main" id="{46B891CE-5BA6-4B8A-8671-3379AD1A692C}"/>
              </a:ext>
            </a:extLst>
          </p:cNvPr>
          <p:cNvSpPr txBox="1"/>
          <p:nvPr userDrawn="1"/>
        </p:nvSpPr>
        <p:spPr>
          <a:xfrm>
            <a:off x="3886200" y="6354000"/>
            <a:ext cx="4419602" cy="230832"/>
          </a:xfrm>
          <a:prstGeom prst="rect">
            <a:avLst/>
          </a:prstGeom>
          <a:noFill/>
        </p:spPr>
        <p:txBody>
          <a:bodyPr wrap="square" rtlCol="0">
            <a:spAutoFit/>
          </a:bodyPr>
          <a:lstStyle/>
          <a:p>
            <a:pPr algn="ctr"/>
            <a:r>
              <a:rPr lang="en-GB" sz="900"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dirty="0">
              <a:solidFill>
                <a:srgbClr val="99999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240760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New chapter, dark blue">
    <p:bg>
      <p:bgPr>
        <a:solidFill>
          <a:schemeClr val="bg1"/>
        </a:solidFill>
        <a:effectLst/>
      </p:bgPr>
    </p:bg>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1586821-BABB-446F-A766-D818BB160D8E}"/>
              </a:ext>
            </a:extLst>
          </p:cNvPr>
          <p:cNvSpPr>
            <a:spLocks noGrp="1"/>
          </p:cNvSpPr>
          <p:nvPr>
            <p:ph type="pic" sz="quarter" idx="14"/>
          </p:nvPr>
        </p:nvSpPr>
        <p:spPr>
          <a:xfrm>
            <a:off x="3415951" y="750180"/>
            <a:ext cx="8776049" cy="5360814"/>
          </a:xfrm>
          <a:solidFill>
            <a:schemeClr val="bg1">
              <a:lumMod val="85000"/>
            </a:schemeClr>
          </a:solidFill>
        </p:spPr>
        <p:txBody>
          <a:bodyPr/>
          <a:lstStyle/>
          <a:p>
            <a:r>
              <a:rPr lang="en-US" dirty="0"/>
              <a:t>Click icon to add picture</a:t>
            </a:r>
            <a:endParaRPr lang="en-GB" dirty="0"/>
          </a:p>
        </p:txBody>
      </p:sp>
      <p:sp>
        <p:nvSpPr>
          <p:cNvPr id="7" name="Plassholder for tekst 9">
            <a:extLst>
              <a:ext uri="{FF2B5EF4-FFF2-40B4-BE49-F238E27FC236}">
                <a16:creationId xmlns:a16="http://schemas.microsoft.com/office/drawing/2014/main" id="{69F8F10B-9707-4A8A-AAF9-31C770E77AB6}"/>
              </a:ext>
            </a:extLst>
          </p:cNvPr>
          <p:cNvSpPr>
            <a:spLocks noGrp="1"/>
          </p:cNvSpPr>
          <p:nvPr>
            <p:ph type="body" sz="quarter" idx="16" hasCustomPrompt="1"/>
          </p:nvPr>
        </p:nvSpPr>
        <p:spPr>
          <a:xfrm>
            <a:off x="436302" y="1240776"/>
            <a:ext cx="4371211" cy="4377307"/>
          </a:xfrm>
          <a:prstGeom prst="rect">
            <a:avLst/>
          </a:prstGeom>
          <a:solidFill>
            <a:srgbClr val="001639"/>
          </a:solid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6" name="Plassholder for tekst 4">
            <a:extLst>
              <a:ext uri="{FF2B5EF4-FFF2-40B4-BE49-F238E27FC236}">
                <a16:creationId xmlns:a16="http://schemas.microsoft.com/office/drawing/2014/main" id="{583768A8-8819-4609-A0A0-2FAFBE738503}"/>
              </a:ext>
            </a:extLst>
          </p:cNvPr>
          <p:cNvSpPr>
            <a:spLocks noGrp="1"/>
          </p:cNvSpPr>
          <p:nvPr>
            <p:ph type="body" sz="quarter" idx="15" hasCustomPrompt="1"/>
          </p:nvPr>
        </p:nvSpPr>
        <p:spPr>
          <a:xfrm>
            <a:off x="2230926" y="1658953"/>
            <a:ext cx="826117" cy="829153"/>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8" name="Plassholder for tekst 6">
            <a:extLst>
              <a:ext uri="{FF2B5EF4-FFF2-40B4-BE49-F238E27FC236}">
                <a16:creationId xmlns:a16="http://schemas.microsoft.com/office/drawing/2014/main" id="{B241986A-C394-49AB-B014-7D668787B13E}"/>
              </a:ext>
            </a:extLst>
          </p:cNvPr>
          <p:cNvSpPr>
            <a:spLocks noGrp="1"/>
          </p:cNvSpPr>
          <p:nvPr>
            <p:ph type="body" sz="quarter" idx="17"/>
          </p:nvPr>
        </p:nvSpPr>
        <p:spPr>
          <a:xfrm>
            <a:off x="436301" y="2488107"/>
            <a:ext cx="4372069" cy="2918283"/>
          </a:xfrm>
        </p:spPr>
        <p:txBody>
          <a:bodyPr lIns="360000" rIns="360000" bIns="432000" anchor="b" anchorCtr="0">
            <a:normAutofit/>
          </a:bodyPr>
          <a:lstStyle>
            <a:lvl1pPr marL="0" indent="0" algn="ctr">
              <a:lnSpc>
                <a:spcPct val="120000"/>
              </a:lnSpc>
              <a:buNone/>
              <a:defRPr sz="300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9" name="TekstSylinder 8">
            <a:extLst>
              <a:ext uri="{FF2B5EF4-FFF2-40B4-BE49-F238E27FC236}">
                <a16:creationId xmlns:a16="http://schemas.microsoft.com/office/drawing/2014/main" id="{E825E297-2BFD-4456-B137-5BACC8EF0E9A}"/>
              </a:ext>
            </a:extLst>
          </p:cNvPr>
          <p:cNvSpPr txBox="1"/>
          <p:nvPr userDrawn="1"/>
        </p:nvSpPr>
        <p:spPr>
          <a:xfrm>
            <a:off x="3886200" y="6354000"/>
            <a:ext cx="4419602" cy="230832"/>
          </a:xfrm>
          <a:prstGeom prst="rect">
            <a:avLst/>
          </a:prstGeom>
          <a:noFill/>
        </p:spPr>
        <p:txBody>
          <a:bodyPr wrap="square" rtlCol="0">
            <a:spAutoFit/>
          </a:bodyPr>
          <a:lstStyle/>
          <a:p>
            <a:pPr algn="ctr"/>
            <a:r>
              <a:rPr lang="en-GB" sz="900"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dirty="0">
              <a:solidFill>
                <a:srgbClr val="99999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508018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New chapter, golden">
    <p:bg>
      <p:bgPr>
        <a:solidFill>
          <a:schemeClr val="bg1"/>
        </a:solidFill>
        <a:effectLst/>
      </p:bgPr>
    </p:bg>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1586821-BABB-446F-A766-D818BB160D8E}"/>
              </a:ext>
            </a:extLst>
          </p:cNvPr>
          <p:cNvSpPr>
            <a:spLocks noGrp="1"/>
          </p:cNvSpPr>
          <p:nvPr>
            <p:ph type="pic" sz="quarter" idx="14"/>
          </p:nvPr>
        </p:nvSpPr>
        <p:spPr>
          <a:xfrm>
            <a:off x="3415951" y="750180"/>
            <a:ext cx="8776049" cy="5360814"/>
          </a:xfrm>
          <a:solidFill>
            <a:schemeClr val="bg1">
              <a:lumMod val="85000"/>
            </a:schemeClr>
          </a:solidFill>
        </p:spPr>
        <p:txBody>
          <a:bodyPr/>
          <a:lstStyle/>
          <a:p>
            <a:r>
              <a:rPr lang="en-US" dirty="0"/>
              <a:t>Click icon to add picture</a:t>
            </a:r>
            <a:endParaRPr lang="en-GB" dirty="0"/>
          </a:p>
        </p:txBody>
      </p:sp>
      <p:sp>
        <p:nvSpPr>
          <p:cNvPr id="7" name="Plassholder for tekst 9">
            <a:extLst>
              <a:ext uri="{FF2B5EF4-FFF2-40B4-BE49-F238E27FC236}">
                <a16:creationId xmlns:a16="http://schemas.microsoft.com/office/drawing/2014/main" id="{D2A9011E-072B-4825-A86B-CFBAB74E37F9}"/>
              </a:ext>
            </a:extLst>
          </p:cNvPr>
          <p:cNvSpPr>
            <a:spLocks noGrp="1"/>
          </p:cNvSpPr>
          <p:nvPr>
            <p:ph type="body" sz="quarter" idx="16" hasCustomPrompt="1"/>
          </p:nvPr>
        </p:nvSpPr>
        <p:spPr>
          <a:xfrm>
            <a:off x="436302" y="1240776"/>
            <a:ext cx="4371211" cy="4377307"/>
          </a:xfrm>
          <a:prstGeom prst="rect">
            <a:avLst/>
          </a:prstGeom>
          <a:solidFill>
            <a:srgbClr val="A6845C"/>
          </a:solid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6" name="Plassholder for tekst 4">
            <a:extLst>
              <a:ext uri="{FF2B5EF4-FFF2-40B4-BE49-F238E27FC236}">
                <a16:creationId xmlns:a16="http://schemas.microsoft.com/office/drawing/2014/main" id="{583768A8-8819-4609-A0A0-2FAFBE738503}"/>
              </a:ext>
            </a:extLst>
          </p:cNvPr>
          <p:cNvSpPr>
            <a:spLocks noGrp="1"/>
          </p:cNvSpPr>
          <p:nvPr>
            <p:ph type="body" sz="quarter" idx="15" hasCustomPrompt="1"/>
          </p:nvPr>
        </p:nvSpPr>
        <p:spPr>
          <a:xfrm>
            <a:off x="2230926" y="1658953"/>
            <a:ext cx="826117" cy="829153"/>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8" name="Plassholder for tekst 6">
            <a:extLst>
              <a:ext uri="{FF2B5EF4-FFF2-40B4-BE49-F238E27FC236}">
                <a16:creationId xmlns:a16="http://schemas.microsoft.com/office/drawing/2014/main" id="{DFE43C54-F231-421E-A595-7283D5392692}"/>
              </a:ext>
            </a:extLst>
          </p:cNvPr>
          <p:cNvSpPr>
            <a:spLocks noGrp="1"/>
          </p:cNvSpPr>
          <p:nvPr>
            <p:ph type="body" sz="quarter" idx="17"/>
          </p:nvPr>
        </p:nvSpPr>
        <p:spPr>
          <a:xfrm>
            <a:off x="436301" y="2488107"/>
            <a:ext cx="4372069" cy="2918283"/>
          </a:xfrm>
        </p:spPr>
        <p:txBody>
          <a:bodyPr lIns="360000" rIns="360000" bIns="432000" anchor="b" anchorCtr="0">
            <a:normAutofit/>
          </a:bodyPr>
          <a:lstStyle>
            <a:lvl1pPr marL="0" indent="0" algn="ctr">
              <a:lnSpc>
                <a:spcPct val="120000"/>
              </a:lnSpc>
              <a:buNone/>
              <a:defRPr sz="300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9" name="TekstSylinder 8">
            <a:extLst>
              <a:ext uri="{FF2B5EF4-FFF2-40B4-BE49-F238E27FC236}">
                <a16:creationId xmlns:a16="http://schemas.microsoft.com/office/drawing/2014/main" id="{A20A2022-4E6F-49EF-8CCF-680D54C25629}"/>
              </a:ext>
            </a:extLst>
          </p:cNvPr>
          <p:cNvSpPr txBox="1"/>
          <p:nvPr userDrawn="1"/>
        </p:nvSpPr>
        <p:spPr>
          <a:xfrm>
            <a:off x="3886200" y="6354000"/>
            <a:ext cx="4419602" cy="230832"/>
          </a:xfrm>
          <a:prstGeom prst="rect">
            <a:avLst/>
          </a:prstGeom>
          <a:noFill/>
        </p:spPr>
        <p:txBody>
          <a:bodyPr wrap="square" rtlCol="0">
            <a:spAutoFit/>
          </a:bodyPr>
          <a:lstStyle/>
          <a:p>
            <a:pPr algn="ctr"/>
            <a:r>
              <a:rPr lang="en-GB" sz="900"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dirty="0">
              <a:solidFill>
                <a:srgbClr val="99999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738649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pecial slide short title">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8" name="Content Placeholder 2">
            <a:extLst>
              <a:ext uri="{FF2B5EF4-FFF2-40B4-BE49-F238E27FC236}">
                <a16:creationId xmlns:a16="http://schemas.microsoft.com/office/drawing/2014/main" id="{03AEAD4E-1EC8-4C57-BA76-85BA349C4319}"/>
              </a:ext>
            </a:extLst>
          </p:cNvPr>
          <p:cNvSpPr>
            <a:spLocks noGrp="1"/>
          </p:cNvSpPr>
          <p:nvPr>
            <p:ph sz="half" idx="20"/>
          </p:nvPr>
        </p:nvSpPr>
        <p:spPr>
          <a:xfrm>
            <a:off x="6201583" y="750182"/>
            <a:ext cx="5350255" cy="2576412"/>
          </a:xfrm>
          <a:solidFill>
            <a:schemeClr val="accent2"/>
          </a:solidFill>
        </p:spPr>
        <p:txBody>
          <a:bodyPr lIns="144000" tIns="90000" rIns="144000" bIns="90000" anchor="t" anchorCtr="0"/>
          <a:lstStyle>
            <a:lvl1pPr algn="l">
              <a:defRPr sz="3000" b="1"/>
            </a:lvl1pPr>
            <a:lvl2pPr algn="l">
              <a:defRPr sz="2000"/>
            </a:lvl2pPr>
            <a:lvl3pPr algn="l">
              <a:defRPr/>
            </a:lvl3pPr>
            <a:lvl4pPr algn="l">
              <a:defRPr/>
            </a:lvl4pPr>
            <a:lvl5pPr algn="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BBED92E-36C7-4AC1-B14C-41D2B90B0DC0}"/>
              </a:ext>
            </a:extLst>
          </p:cNvPr>
          <p:cNvSpPr>
            <a:spLocks noGrp="1"/>
          </p:cNvSpPr>
          <p:nvPr>
            <p:ph sz="half" idx="21"/>
          </p:nvPr>
        </p:nvSpPr>
        <p:spPr>
          <a:xfrm>
            <a:off x="6201583" y="3536566"/>
            <a:ext cx="5350255" cy="2576412"/>
          </a:xfrm>
          <a:solidFill>
            <a:schemeClr val="accent2"/>
          </a:solidFill>
        </p:spPr>
        <p:txBody>
          <a:bodyPr lIns="144000" tIns="90000" rIns="144000" bIns="90000" anchor="b" anchorCtr="0"/>
          <a:lstStyle>
            <a:lvl1pPr algn="l">
              <a:defRPr sz="3000" b="1"/>
            </a:lvl1pPr>
            <a:lvl2pPr algn="l">
              <a:defRPr sz="2000"/>
            </a:lvl2pPr>
            <a:lvl3pPr algn="l">
              <a:defRPr/>
            </a:lvl3pPr>
            <a:lvl4pPr algn="l">
              <a:defRPr/>
            </a:lvl4pPr>
            <a:lvl5pPr algn="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42A3A9CD-0E85-4C4F-90A1-4B5BD923B4BF}"/>
              </a:ext>
            </a:extLst>
          </p:cNvPr>
          <p:cNvSpPr>
            <a:spLocks noGrp="1"/>
          </p:cNvSpPr>
          <p:nvPr>
            <p:ph sz="half" idx="22"/>
          </p:nvPr>
        </p:nvSpPr>
        <p:spPr>
          <a:xfrm>
            <a:off x="3420872" y="750182"/>
            <a:ext cx="2569545" cy="2576412"/>
          </a:xfrm>
          <a:solidFill>
            <a:schemeClr val="accent2"/>
          </a:solidFill>
        </p:spPr>
        <p:txBody>
          <a:bodyPr lIns="144000" tIns="90000" rIns="144000" bIns="90000" anchor="t" anchorCtr="0"/>
          <a:lstStyle>
            <a:lvl1pPr>
              <a:defRPr sz="20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558D2BEF-D65E-4E0A-954B-4A84CA17B6AE}"/>
              </a:ext>
            </a:extLst>
          </p:cNvPr>
          <p:cNvSpPr>
            <a:spLocks noGrp="1"/>
          </p:cNvSpPr>
          <p:nvPr>
            <p:ph sz="half" idx="23"/>
          </p:nvPr>
        </p:nvSpPr>
        <p:spPr>
          <a:xfrm>
            <a:off x="3420872" y="3536566"/>
            <a:ext cx="2569545" cy="2576412"/>
          </a:xfrm>
          <a:solidFill>
            <a:schemeClr val="accent2"/>
          </a:solidFill>
        </p:spPr>
        <p:txBody>
          <a:bodyPr lIns="144000" tIns="90000" rIns="144000" bIns="90000" anchor="b" anchorCtr="0"/>
          <a:lstStyle>
            <a:lvl1pPr>
              <a:defRPr sz="20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4971044" y="2304060"/>
            <a:ext cx="2249912" cy="2249879"/>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5503804" y="2831264"/>
            <a:ext cx="1205775" cy="1205793"/>
          </a:xfrm>
          <a:solidFill>
            <a:srgbClr val="001639"/>
          </a:solidFill>
        </p:spPr>
        <p:txBody>
          <a:bodyPr/>
          <a:lstStyle>
            <a:lvl1pPr marL="0" indent="0" rtl="0">
              <a:buNone/>
              <a:tabLst>
                <a:tab pos="400130" algn="l"/>
              </a:tabLst>
              <a:defRPr sz="100">
                <a:solidFill>
                  <a:schemeClr val="bg1"/>
                </a:solidFill>
              </a:defRPr>
            </a:lvl1pPr>
          </a:lstStyle>
          <a:p>
            <a:pPr lvl="0"/>
            <a:r>
              <a:rPr lang="nb-NO"/>
              <a:t> </a:t>
            </a:r>
            <a:endParaRPr lang="en-GB"/>
          </a:p>
        </p:txBody>
      </p:sp>
      <p:sp>
        <p:nvSpPr>
          <p:cNvPr id="2" name="Plassholder for innhold 1">
            <a:extLst>
              <a:ext uri="{FF2B5EF4-FFF2-40B4-BE49-F238E27FC236}">
                <a16:creationId xmlns:a16="http://schemas.microsoft.com/office/drawing/2014/main" id="{34625A07-22AA-44A3-BED4-DA20640AF0F2}"/>
              </a:ext>
            </a:extLst>
          </p:cNvPr>
          <p:cNvSpPr>
            <a:spLocks noGrp="1"/>
          </p:cNvSpPr>
          <p:nvPr>
            <p:ph sz="quarter" idx="32"/>
          </p:nvPr>
        </p:nvSpPr>
        <p:spPr>
          <a:xfrm>
            <a:off x="5658588" y="3061054"/>
            <a:ext cx="882765" cy="743036"/>
          </a:xfrm>
          <a:prstGeom prst="rect">
            <a:avLst/>
          </a:prstGeom>
        </p:spPr>
        <p:txBody>
          <a:bodyPr lIns="0" tIns="0" rIns="0" bIns="0" anchor="ctr" anchorCtr="0"/>
          <a:lstStyle>
            <a:lvl1pPr marL="0" indent="0" algn="ctr">
              <a:spcBef>
                <a:spcPts val="0"/>
              </a:spcBef>
              <a:buNone/>
              <a:defRPr sz="1000" b="1">
                <a:solidFill>
                  <a:schemeClr val="bg1"/>
                </a:solidFill>
                <a:latin typeface="Calibri" panose="020F0502020204030204" pitchFamily="34" charset="0"/>
                <a:cs typeface="Calibri" panose="020F0502020204030204" pitchFamily="34" charset="0"/>
              </a:defRPr>
            </a:lvl1pPr>
            <a:lvl2pPr marL="228646" indent="0">
              <a:buNone/>
              <a:defRPr/>
            </a:lvl2pPr>
            <a:lvl3pPr marL="396079" indent="0">
              <a:buNone/>
              <a:defRPr/>
            </a:lvl3pPr>
            <a:lvl4pPr marL="594118" indent="0">
              <a:buNone/>
              <a:defRPr/>
            </a:lvl4pPr>
          </a:lstStyle>
          <a:p>
            <a:pPr lvl="0"/>
            <a:r>
              <a:rPr lang="en-US"/>
              <a:t>Edit Master text styles</a:t>
            </a:r>
          </a:p>
        </p:txBody>
      </p:sp>
      <p:sp>
        <p:nvSpPr>
          <p:cNvPr id="17" name="Plassholder for tekst 10">
            <a:extLst>
              <a:ext uri="{FF2B5EF4-FFF2-40B4-BE49-F238E27FC236}">
                <a16:creationId xmlns:a16="http://schemas.microsoft.com/office/drawing/2014/main" id="{0AC81652-F3EB-4D17-A72C-500EA3DB16C1}"/>
              </a:ext>
            </a:extLst>
          </p:cNvPr>
          <p:cNvSpPr>
            <a:spLocks noGrp="1"/>
          </p:cNvSpPr>
          <p:nvPr>
            <p:ph type="body" sz="quarter" idx="16"/>
          </p:nvPr>
        </p:nvSpPr>
        <p:spPr>
          <a:xfrm>
            <a:off x="640163" y="3438000"/>
            <a:ext cx="2560654" cy="319919"/>
          </a:xfrm>
        </p:spPr>
        <p:txBody>
          <a:bodyPr>
            <a:noAutofit/>
          </a:bodyPr>
          <a:lstStyle>
            <a:lvl1pPr marL="0" indent="0" algn="l">
              <a:buNone/>
              <a:defRPr sz="2000">
                <a:solidFill>
                  <a:srgbClr val="001639"/>
                </a:solidFill>
              </a:defRPr>
            </a:lvl1pPr>
          </a:lstStyle>
          <a:p>
            <a:pPr lvl="0"/>
            <a:r>
              <a:rPr lang="en-US"/>
              <a:t>Edit Master text styles</a:t>
            </a:r>
          </a:p>
        </p:txBody>
      </p:sp>
      <p:sp>
        <p:nvSpPr>
          <p:cNvPr id="19" name="Plassholder for tekst 3">
            <a:extLst>
              <a:ext uri="{FF2B5EF4-FFF2-40B4-BE49-F238E27FC236}">
                <a16:creationId xmlns:a16="http://schemas.microsoft.com/office/drawing/2014/main" id="{B944CEE7-FF22-4AF9-BFD1-50E6B7A9D353}"/>
              </a:ext>
            </a:extLst>
          </p:cNvPr>
          <p:cNvSpPr>
            <a:spLocks noGrp="1"/>
          </p:cNvSpPr>
          <p:nvPr>
            <p:ph type="body" sz="quarter" idx="33" hasCustomPrompt="1"/>
          </p:nvPr>
        </p:nvSpPr>
        <p:spPr>
          <a:xfrm>
            <a:off x="640163" y="2126974"/>
            <a:ext cx="2569543"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20775946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pecial slide short title, picture only">
    <p:bg>
      <p:bgPr>
        <a:solidFill>
          <a:schemeClr val="bg1"/>
        </a:solidFill>
        <a:effectLst/>
      </p:bgPr>
    </p:bg>
    <p:spTree>
      <p:nvGrpSpPr>
        <p:cNvPr id="1" name=""/>
        <p:cNvGrpSpPr/>
        <p:nvPr/>
      </p:nvGrpSpPr>
      <p:grpSpPr>
        <a:xfrm>
          <a:off x="0" y="0"/>
          <a:ext cx="0" cy="0"/>
          <a:chOff x="0" y="0"/>
          <a:chExt cx="0" cy="0"/>
        </a:xfrm>
      </p:grpSpPr>
      <p:sp>
        <p:nvSpPr>
          <p:cNvPr id="15" name="Plassholder for bilde 14">
            <a:extLst>
              <a:ext uri="{FF2B5EF4-FFF2-40B4-BE49-F238E27FC236}">
                <a16:creationId xmlns:a16="http://schemas.microsoft.com/office/drawing/2014/main" id="{3D536C38-58C0-4D1D-8293-E2010EBB867E}"/>
              </a:ext>
            </a:extLst>
          </p:cNvPr>
          <p:cNvSpPr>
            <a:spLocks noGrp="1"/>
          </p:cNvSpPr>
          <p:nvPr>
            <p:ph type="pic" sz="quarter" idx="36"/>
          </p:nvPr>
        </p:nvSpPr>
        <p:spPr>
          <a:xfrm>
            <a:off x="3420873" y="750182"/>
            <a:ext cx="2569545" cy="2576412"/>
          </a:xfrm>
          <a:prstGeom prst="rect">
            <a:avLst/>
          </a:prstGeom>
          <a:solidFill>
            <a:schemeClr val="accent2"/>
          </a:solidFill>
        </p:spPr>
        <p:txBody>
          <a:bodyPr lIns="144000" tIns="90000" rIns="144000" bIns="90000"/>
          <a:lstStyle>
            <a:lvl1pPr>
              <a:defRPr>
                <a:solidFill>
                  <a:srgbClr val="001639"/>
                </a:solidFill>
              </a:defRPr>
            </a:lvl1pPr>
          </a:lstStyle>
          <a:p>
            <a:r>
              <a:rPr lang="en-US" dirty="0"/>
              <a:t>Click icon to add picture</a:t>
            </a:r>
            <a:endParaRPr lang="nb-NO"/>
          </a:p>
        </p:txBody>
      </p:sp>
      <p:sp>
        <p:nvSpPr>
          <p:cNvPr id="9" name="Plassholder for bilde 8">
            <a:extLst>
              <a:ext uri="{FF2B5EF4-FFF2-40B4-BE49-F238E27FC236}">
                <a16:creationId xmlns:a16="http://schemas.microsoft.com/office/drawing/2014/main" id="{4B5AF019-7FDC-49FE-9A58-25C113B29E90}"/>
              </a:ext>
            </a:extLst>
          </p:cNvPr>
          <p:cNvSpPr>
            <a:spLocks noGrp="1"/>
          </p:cNvSpPr>
          <p:nvPr>
            <p:ph type="pic" sz="quarter" idx="35"/>
          </p:nvPr>
        </p:nvSpPr>
        <p:spPr>
          <a:xfrm>
            <a:off x="3420873" y="3536566"/>
            <a:ext cx="2569545" cy="2576412"/>
          </a:xfrm>
          <a:prstGeom prst="rect">
            <a:avLst/>
          </a:prstGeom>
          <a:solidFill>
            <a:schemeClr val="accent2"/>
          </a:solidFill>
        </p:spPr>
        <p:txBody>
          <a:bodyPr lIns="144000" tIns="90000" rIns="144000" bIns="90000"/>
          <a:lstStyle>
            <a:lvl1pPr>
              <a:defRPr>
                <a:solidFill>
                  <a:srgbClr val="001639"/>
                </a:solidFill>
              </a:defRPr>
            </a:lvl1pPr>
          </a:lstStyle>
          <a:p>
            <a:r>
              <a:rPr lang="en-US" dirty="0"/>
              <a:t>Click icon to add picture</a:t>
            </a:r>
            <a:endParaRPr lang="nb-NO"/>
          </a:p>
        </p:txBody>
      </p:sp>
      <p:sp>
        <p:nvSpPr>
          <p:cNvPr id="3" name="Plassholder for bilde 2">
            <a:extLst>
              <a:ext uri="{FF2B5EF4-FFF2-40B4-BE49-F238E27FC236}">
                <a16:creationId xmlns:a16="http://schemas.microsoft.com/office/drawing/2014/main" id="{8080A9CE-F63A-47AF-805C-C756D055EF5E}"/>
              </a:ext>
            </a:extLst>
          </p:cNvPr>
          <p:cNvSpPr>
            <a:spLocks noGrp="1"/>
          </p:cNvSpPr>
          <p:nvPr>
            <p:ph type="pic" sz="quarter" idx="33"/>
          </p:nvPr>
        </p:nvSpPr>
        <p:spPr>
          <a:xfrm>
            <a:off x="6201584" y="3536566"/>
            <a:ext cx="5350255" cy="2576412"/>
          </a:xfrm>
          <a:prstGeom prst="rect">
            <a:avLst/>
          </a:prstGeom>
          <a:solidFill>
            <a:schemeClr val="accent2"/>
          </a:solidFill>
        </p:spPr>
        <p:txBody>
          <a:bodyPr lIns="144000" tIns="90000" rIns="144000" bIns="90000"/>
          <a:lstStyle>
            <a:lvl1pPr>
              <a:defRPr>
                <a:solidFill>
                  <a:srgbClr val="001639"/>
                </a:solidFill>
              </a:defRPr>
            </a:lvl1pPr>
          </a:lstStyle>
          <a:p>
            <a:r>
              <a:rPr lang="en-US" dirty="0"/>
              <a:t>Click icon to add picture</a:t>
            </a:r>
            <a:endParaRPr lang="nb-NO"/>
          </a:p>
        </p:txBody>
      </p:sp>
      <p:sp>
        <p:nvSpPr>
          <p:cNvPr id="5" name="Plassholder for bilde 4">
            <a:extLst>
              <a:ext uri="{FF2B5EF4-FFF2-40B4-BE49-F238E27FC236}">
                <a16:creationId xmlns:a16="http://schemas.microsoft.com/office/drawing/2014/main" id="{27C592B4-76E2-48BB-BA0D-CBA875ABEB8D}"/>
              </a:ext>
            </a:extLst>
          </p:cNvPr>
          <p:cNvSpPr>
            <a:spLocks noGrp="1"/>
          </p:cNvSpPr>
          <p:nvPr>
            <p:ph type="pic" sz="quarter" idx="34"/>
          </p:nvPr>
        </p:nvSpPr>
        <p:spPr>
          <a:xfrm>
            <a:off x="6201584" y="750182"/>
            <a:ext cx="5350255" cy="2576412"/>
          </a:xfrm>
          <a:prstGeom prst="rect">
            <a:avLst/>
          </a:prstGeom>
          <a:solidFill>
            <a:schemeClr val="accent2"/>
          </a:solidFill>
        </p:spPr>
        <p:txBody>
          <a:bodyPr lIns="144000" tIns="90000" rIns="144000" bIns="90000"/>
          <a:lstStyle>
            <a:lvl1pPr>
              <a:defRPr>
                <a:solidFill>
                  <a:srgbClr val="001639"/>
                </a:solidFill>
              </a:defRPr>
            </a:lvl1pPr>
          </a:lstStyle>
          <a:p>
            <a:r>
              <a:rPr lang="en-US" dirty="0"/>
              <a:t>Click icon to add picture</a:t>
            </a:r>
            <a:endParaRPr lang="nb-NO"/>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4971044" y="2304060"/>
            <a:ext cx="2249912" cy="2249879"/>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5503804" y="2831264"/>
            <a:ext cx="1205775" cy="1205793"/>
          </a:xfrm>
          <a:solidFill>
            <a:srgbClr val="001639"/>
          </a:solidFill>
        </p:spPr>
        <p:txBody>
          <a:bodyPr/>
          <a:lstStyle>
            <a:lvl1pPr marL="0" indent="0" rtl="0">
              <a:buNone/>
              <a:tabLst>
                <a:tab pos="400130" algn="l"/>
              </a:tabLst>
              <a:defRPr sz="100">
                <a:solidFill>
                  <a:schemeClr val="bg1"/>
                </a:solidFill>
              </a:defRPr>
            </a:lvl1pPr>
          </a:lstStyle>
          <a:p>
            <a:pPr lvl="0"/>
            <a:r>
              <a:rPr lang="nb-NO"/>
              <a:t> </a:t>
            </a:r>
            <a:endParaRPr lang="en-GB"/>
          </a:p>
        </p:txBody>
      </p:sp>
      <p:sp>
        <p:nvSpPr>
          <p:cNvPr id="2" name="Plassholder for innhold 1">
            <a:extLst>
              <a:ext uri="{FF2B5EF4-FFF2-40B4-BE49-F238E27FC236}">
                <a16:creationId xmlns:a16="http://schemas.microsoft.com/office/drawing/2014/main" id="{34625A07-22AA-44A3-BED4-DA20640AF0F2}"/>
              </a:ext>
            </a:extLst>
          </p:cNvPr>
          <p:cNvSpPr>
            <a:spLocks noGrp="1"/>
          </p:cNvSpPr>
          <p:nvPr>
            <p:ph sz="quarter" idx="32"/>
          </p:nvPr>
        </p:nvSpPr>
        <p:spPr>
          <a:xfrm>
            <a:off x="5658588" y="3061054"/>
            <a:ext cx="882765" cy="743036"/>
          </a:xfrm>
          <a:prstGeom prst="rect">
            <a:avLst/>
          </a:prstGeom>
        </p:spPr>
        <p:txBody>
          <a:bodyPr lIns="0" tIns="0" rIns="0" bIns="0" anchor="ctr" anchorCtr="0"/>
          <a:lstStyle>
            <a:lvl1pPr marL="0" indent="0" algn="ctr">
              <a:spcBef>
                <a:spcPts val="0"/>
              </a:spcBef>
              <a:buNone/>
              <a:defRPr sz="1000" b="1">
                <a:solidFill>
                  <a:schemeClr val="bg1"/>
                </a:solidFill>
                <a:latin typeface="Calibri" panose="020F0502020204030204" pitchFamily="34" charset="0"/>
                <a:cs typeface="Calibri" panose="020F0502020204030204" pitchFamily="34" charset="0"/>
              </a:defRPr>
            </a:lvl1pPr>
            <a:lvl2pPr marL="228646" indent="0">
              <a:buNone/>
              <a:defRPr/>
            </a:lvl2pPr>
            <a:lvl3pPr marL="396079" indent="0">
              <a:buNone/>
              <a:defRPr/>
            </a:lvl3pPr>
            <a:lvl4pPr marL="594118" indent="0">
              <a:buNone/>
              <a:defRPr/>
            </a:lvl4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7" name="Plassholder for tekst 10">
            <a:extLst>
              <a:ext uri="{FF2B5EF4-FFF2-40B4-BE49-F238E27FC236}">
                <a16:creationId xmlns:a16="http://schemas.microsoft.com/office/drawing/2014/main" id="{AD925256-C858-416B-858B-992ECCFC0981}"/>
              </a:ext>
            </a:extLst>
          </p:cNvPr>
          <p:cNvSpPr>
            <a:spLocks noGrp="1"/>
          </p:cNvSpPr>
          <p:nvPr>
            <p:ph type="body" sz="quarter" idx="16"/>
          </p:nvPr>
        </p:nvSpPr>
        <p:spPr>
          <a:xfrm>
            <a:off x="640163" y="3438000"/>
            <a:ext cx="2560654" cy="319919"/>
          </a:xfrm>
        </p:spPr>
        <p:txBody>
          <a:bodyPr>
            <a:noAutofit/>
          </a:bodyPr>
          <a:lstStyle>
            <a:lvl1pPr marL="0" indent="0" algn="l">
              <a:buNone/>
              <a:defRPr sz="2000">
                <a:solidFill>
                  <a:srgbClr val="001639"/>
                </a:solidFill>
              </a:defRPr>
            </a:lvl1pPr>
          </a:lstStyle>
          <a:p>
            <a:pPr lvl="0"/>
            <a:r>
              <a:rPr lang="en-US"/>
              <a:t>Edit Master text styles</a:t>
            </a:r>
          </a:p>
        </p:txBody>
      </p:sp>
      <p:sp>
        <p:nvSpPr>
          <p:cNvPr id="16" name="Plassholder for tekst 3">
            <a:extLst>
              <a:ext uri="{FF2B5EF4-FFF2-40B4-BE49-F238E27FC236}">
                <a16:creationId xmlns:a16="http://schemas.microsoft.com/office/drawing/2014/main" id="{482F3D1E-77C2-4A4C-B492-05E6E29EEA03}"/>
              </a:ext>
            </a:extLst>
          </p:cNvPr>
          <p:cNvSpPr>
            <a:spLocks noGrp="1"/>
          </p:cNvSpPr>
          <p:nvPr>
            <p:ph type="body" sz="quarter" idx="37" hasCustomPrompt="1"/>
          </p:nvPr>
        </p:nvSpPr>
        <p:spPr>
          <a:xfrm>
            <a:off x="640163" y="2126974"/>
            <a:ext cx="2569543"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42286601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pecial slide long title">
    <p:bg>
      <p:bgPr>
        <a:solidFill>
          <a:schemeClr val="bg1"/>
        </a:solidFill>
        <a:effectLst/>
      </p:bgPr>
    </p:bg>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7" name="Plassholder for tekst 10">
            <a:extLst>
              <a:ext uri="{FF2B5EF4-FFF2-40B4-BE49-F238E27FC236}">
                <a16:creationId xmlns:a16="http://schemas.microsoft.com/office/drawing/2014/main" id="{AD925256-C858-416B-858B-992ECCFC0981}"/>
              </a:ext>
            </a:extLst>
          </p:cNvPr>
          <p:cNvSpPr>
            <a:spLocks noGrp="1"/>
          </p:cNvSpPr>
          <p:nvPr>
            <p:ph type="body" sz="quarter" idx="16"/>
          </p:nvPr>
        </p:nvSpPr>
        <p:spPr>
          <a:xfrm>
            <a:off x="640162" y="3438000"/>
            <a:ext cx="5338506" cy="319919"/>
          </a:xfrm>
        </p:spPr>
        <p:txBody>
          <a:bodyPr>
            <a:noAutofit/>
          </a:bodyPr>
          <a:lstStyle>
            <a:lvl1pPr marL="0" indent="0" algn="l">
              <a:buNone/>
              <a:defRPr sz="2000">
                <a:solidFill>
                  <a:srgbClr val="001639"/>
                </a:solidFill>
              </a:defRPr>
            </a:lvl1pPr>
          </a:lstStyle>
          <a:p>
            <a:pPr lvl="0"/>
            <a:r>
              <a:rPr lang="en-US"/>
              <a:t>Edit Master text styles</a:t>
            </a:r>
          </a:p>
        </p:txBody>
      </p:sp>
      <p:sp>
        <p:nvSpPr>
          <p:cNvPr id="8" name="Content Placeholder 2">
            <a:extLst>
              <a:ext uri="{FF2B5EF4-FFF2-40B4-BE49-F238E27FC236}">
                <a16:creationId xmlns:a16="http://schemas.microsoft.com/office/drawing/2014/main" id="{03AEAD4E-1EC8-4C57-BA76-85BA349C4319}"/>
              </a:ext>
            </a:extLst>
          </p:cNvPr>
          <p:cNvSpPr>
            <a:spLocks noGrp="1"/>
          </p:cNvSpPr>
          <p:nvPr>
            <p:ph sz="half" idx="20"/>
          </p:nvPr>
        </p:nvSpPr>
        <p:spPr>
          <a:xfrm>
            <a:off x="8978482" y="750182"/>
            <a:ext cx="2573356" cy="2576412"/>
          </a:xfrm>
          <a:solidFill>
            <a:schemeClr val="accent2"/>
          </a:solidFill>
        </p:spPr>
        <p:txBody>
          <a:bodyPr lIns="144000" tIns="90000" rIns="144000" bIns="90000" anchor="t" anchorCtr="0"/>
          <a:lstStyle>
            <a:lvl1pPr algn="r">
              <a:defRPr sz="2000" b="1"/>
            </a:lvl1pPr>
            <a:lvl2pPr algn="r">
              <a:defRPr/>
            </a:lvl2pPr>
            <a:lvl3pPr algn="r">
              <a:defRPr/>
            </a:lvl3pPr>
            <a:lvl4pPr algn="r">
              <a:defRPr/>
            </a:lvl4pPr>
            <a:lvl5pPr algn="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BBED92E-36C7-4AC1-B14C-41D2B90B0DC0}"/>
              </a:ext>
            </a:extLst>
          </p:cNvPr>
          <p:cNvSpPr>
            <a:spLocks noGrp="1"/>
          </p:cNvSpPr>
          <p:nvPr>
            <p:ph sz="half" idx="21"/>
          </p:nvPr>
        </p:nvSpPr>
        <p:spPr>
          <a:xfrm>
            <a:off x="8978482" y="3536566"/>
            <a:ext cx="2573356" cy="2576412"/>
          </a:xfrm>
          <a:solidFill>
            <a:schemeClr val="accent2"/>
          </a:solidFill>
        </p:spPr>
        <p:txBody>
          <a:bodyPr lIns="144000" tIns="90000" rIns="144000" bIns="90000" anchor="b" anchorCtr="0"/>
          <a:lstStyle>
            <a:lvl1pPr algn="r">
              <a:defRPr sz="2000" b="1"/>
            </a:lvl1pPr>
            <a:lvl2pPr algn="r">
              <a:defRPr/>
            </a:lvl2pPr>
            <a:lvl3pPr algn="r">
              <a:defRPr/>
            </a:lvl3pPr>
            <a:lvl4pPr algn="r">
              <a:defRPr/>
            </a:lvl4pPr>
            <a:lvl5pPr algn="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42A3A9CD-0E85-4C4F-90A1-4B5BD923B4BF}"/>
              </a:ext>
            </a:extLst>
          </p:cNvPr>
          <p:cNvSpPr>
            <a:spLocks noGrp="1"/>
          </p:cNvSpPr>
          <p:nvPr>
            <p:ph sz="half" idx="22"/>
          </p:nvPr>
        </p:nvSpPr>
        <p:spPr>
          <a:xfrm>
            <a:off x="6197771" y="750182"/>
            <a:ext cx="2573356" cy="2576412"/>
          </a:xfrm>
          <a:solidFill>
            <a:schemeClr val="accent2"/>
          </a:solidFill>
        </p:spPr>
        <p:txBody>
          <a:bodyPr lIns="144000" tIns="90000" rIns="144000" bIns="90000" anchor="t" anchorCtr="0"/>
          <a:lstStyle>
            <a:lvl1pPr>
              <a:defRPr sz="20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558D2BEF-D65E-4E0A-954B-4A84CA17B6AE}"/>
              </a:ext>
            </a:extLst>
          </p:cNvPr>
          <p:cNvSpPr>
            <a:spLocks noGrp="1"/>
          </p:cNvSpPr>
          <p:nvPr>
            <p:ph sz="half" idx="23"/>
          </p:nvPr>
        </p:nvSpPr>
        <p:spPr>
          <a:xfrm>
            <a:off x="6197771" y="3536566"/>
            <a:ext cx="2573356" cy="2576412"/>
          </a:xfrm>
          <a:solidFill>
            <a:schemeClr val="accent2"/>
          </a:solidFill>
        </p:spPr>
        <p:txBody>
          <a:bodyPr lIns="144000" tIns="90000" rIns="144000" bIns="90000" anchor="b" anchorCtr="0"/>
          <a:lstStyle>
            <a:lvl1pPr>
              <a:defRPr sz="20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7747942" y="2304060"/>
            <a:ext cx="2249912" cy="2249879"/>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8280702" y="2831264"/>
            <a:ext cx="1205775" cy="1205793"/>
          </a:xfrm>
          <a:solidFill>
            <a:srgbClr val="001639"/>
          </a:solidFill>
        </p:spPr>
        <p:txBody>
          <a:bodyPr/>
          <a:lstStyle>
            <a:lvl1pPr marL="0" indent="0" rtl="0">
              <a:buNone/>
              <a:tabLst>
                <a:tab pos="400130" algn="l"/>
              </a:tabLst>
              <a:defRPr sz="100">
                <a:solidFill>
                  <a:schemeClr val="bg1"/>
                </a:solidFill>
              </a:defRPr>
            </a:lvl1pPr>
          </a:lstStyle>
          <a:p>
            <a:pPr lvl="0"/>
            <a:r>
              <a:rPr lang="nb-NO"/>
              <a:t> </a:t>
            </a:r>
            <a:endParaRPr lang="en-GB"/>
          </a:p>
        </p:txBody>
      </p:sp>
      <p:sp>
        <p:nvSpPr>
          <p:cNvPr id="15" name="Plassholder for innhold 1">
            <a:extLst>
              <a:ext uri="{FF2B5EF4-FFF2-40B4-BE49-F238E27FC236}">
                <a16:creationId xmlns:a16="http://schemas.microsoft.com/office/drawing/2014/main" id="{C98411DD-F946-48B2-9875-323348AF6E92}"/>
              </a:ext>
            </a:extLst>
          </p:cNvPr>
          <p:cNvSpPr>
            <a:spLocks noGrp="1"/>
          </p:cNvSpPr>
          <p:nvPr>
            <p:ph sz="quarter" idx="32"/>
          </p:nvPr>
        </p:nvSpPr>
        <p:spPr>
          <a:xfrm>
            <a:off x="8431515" y="3061193"/>
            <a:ext cx="882765" cy="743036"/>
          </a:xfrm>
          <a:prstGeom prst="rect">
            <a:avLst/>
          </a:prstGeom>
        </p:spPr>
        <p:txBody>
          <a:bodyPr lIns="0" tIns="0" rIns="0" bIns="0" anchor="ctr" anchorCtr="0"/>
          <a:lstStyle>
            <a:lvl1pPr marL="0" indent="0" algn="ctr">
              <a:spcBef>
                <a:spcPts val="0"/>
              </a:spcBef>
              <a:buNone/>
              <a:defRPr sz="1000" b="1">
                <a:solidFill>
                  <a:schemeClr val="bg1"/>
                </a:solidFill>
                <a:latin typeface="Calibri" panose="020F0502020204030204" pitchFamily="34" charset="0"/>
                <a:cs typeface="Calibri" panose="020F0502020204030204" pitchFamily="34" charset="0"/>
              </a:defRPr>
            </a:lvl1pPr>
            <a:lvl2pPr marL="228646" indent="0">
              <a:buNone/>
              <a:defRPr/>
            </a:lvl2pPr>
            <a:lvl3pPr marL="396079" indent="0">
              <a:buNone/>
              <a:defRPr/>
            </a:lvl3pPr>
            <a:lvl4pPr marL="594118" indent="0">
              <a:buNone/>
              <a:defRPr/>
            </a:lvl4pPr>
          </a:lstStyle>
          <a:p>
            <a:pPr lvl="0"/>
            <a:r>
              <a:rPr lang="en-US"/>
              <a:t>Edit Master text styles</a:t>
            </a:r>
          </a:p>
        </p:txBody>
      </p:sp>
      <p:sp>
        <p:nvSpPr>
          <p:cNvPr id="18" name="Plassholder for tekst 3">
            <a:extLst>
              <a:ext uri="{FF2B5EF4-FFF2-40B4-BE49-F238E27FC236}">
                <a16:creationId xmlns:a16="http://schemas.microsoft.com/office/drawing/2014/main" id="{DBB01DAC-F6A1-4E5E-8F58-4C8F409E7660}"/>
              </a:ext>
            </a:extLst>
          </p:cNvPr>
          <p:cNvSpPr>
            <a:spLocks noGrp="1"/>
          </p:cNvSpPr>
          <p:nvPr>
            <p:ph type="body" sz="quarter" idx="37" hasCustomPrompt="1"/>
          </p:nvPr>
        </p:nvSpPr>
        <p:spPr>
          <a:xfrm>
            <a:off x="640163" y="2126974"/>
            <a:ext cx="5350253"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147096071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pecial slide long title, pictures only">
    <p:bg>
      <p:bgPr>
        <a:solidFill>
          <a:schemeClr val="bg1"/>
        </a:solidFill>
        <a:effectLst/>
      </p:bgPr>
    </p:bg>
    <p:spTree>
      <p:nvGrpSpPr>
        <p:cNvPr id="1" name=""/>
        <p:cNvGrpSpPr/>
        <p:nvPr/>
      </p:nvGrpSpPr>
      <p:grpSpPr>
        <a:xfrm>
          <a:off x="0" y="0"/>
          <a:ext cx="0" cy="0"/>
          <a:chOff x="0" y="0"/>
          <a:chExt cx="0" cy="0"/>
        </a:xfrm>
      </p:grpSpPr>
      <p:sp>
        <p:nvSpPr>
          <p:cNvPr id="5" name="Plassholder for bilde 4">
            <a:extLst>
              <a:ext uri="{FF2B5EF4-FFF2-40B4-BE49-F238E27FC236}">
                <a16:creationId xmlns:a16="http://schemas.microsoft.com/office/drawing/2014/main" id="{5FD9D673-C144-485C-B86E-4BECB113CA5B}"/>
              </a:ext>
            </a:extLst>
          </p:cNvPr>
          <p:cNvSpPr>
            <a:spLocks noGrp="1"/>
          </p:cNvSpPr>
          <p:nvPr>
            <p:ph type="pic" sz="quarter" idx="35"/>
          </p:nvPr>
        </p:nvSpPr>
        <p:spPr>
          <a:xfrm>
            <a:off x="8978482" y="750182"/>
            <a:ext cx="2573356" cy="2576412"/>
          </a:xfrm>
          <a:prstGeom prst="rect">
            <a:avLst/>
          </a:prstGeom>
          <a:solidFill>
            <a:schemeClr val="accent2"/>
          </a:solidFill>
        </p:spPr>
        <p:txBody>
          <a:bodyPr lIns="144000" tIns="90000" rIns="144000" bIns="90000"/>
          <a:lstStyle/>
          <a:p>
            <a:r>
              <a:rPr lang="en-US" dirty="0"/>
              <a:t>Click icon to add picture</a:t>
            </a:r>
            <a:endParaRPr lang="nb-NO"/>
          </a:p>
        </p:txBody>
      </p:sp>
      <p:sp>
        <p:nvSpPr>
          <p:cNvPr id="2" name="Plassholder for bilde 1">
            <a:extLst>
              <a:ext uri="{FF2B5EF4-FFF2-40B4-BE49-F238E27FC236}">
                <a16:creationId xmlns:a16="http://schemas.microsoft.com/office/drawing/2014/main" id="{0F5840C5-82EA-4619-A693-4526FAF5E8E3}"/>
              </a:ext>
            </a:extLst>
          </p:cNvPr>
          <p:cNvSpPr>
            <a:spLocks noGrp="1"/>
          </p:cNvSpPr>
          <p:nvPr>
            <p:ph type="pic" sz="quarter" idx="33"/>
          </p:nvPr>
        </p:nvSpPr>
        <p:spPr>
          <a:xfrm>
            <a:off x="6197771" y="750182"/>
            <a:ext cx="2573356" cy="2576412"/>
          </a:xfrm>
          <a:prstGeom prst="rect">
            <a:avLst/>
          </a:prstGeom>
          <a:solidFill>
            <a:schemeClr val="accent2"/>
          </a:solidFill>
        </p:spPr>
        <p:txBody>
          <a:bodyPr lIns="144000" tIns="90000" rIns="144000" bIns="90000"/>
          <a:lstStyle/>
          <a:p>
            <a:r>
              <a:rPr lang="en-US" dirty="0"/>
              <a:t>Click icon to add picture</a:t>
            </a:r>
            <a:endParaRPr lang="nb-NO"/>
          </a:p>
        </p:txBody>
      </p:sp>
      <p:sp>
        <p:nvSpPr>
          <p:cNvPr id="3" name="Plassholder for bilde 2">
            <a:extLst>
              <a:ext uri="{FF2B5EF4-FFF2-40B4-BE49-F238E27FC236}">
                <a16:creationId xmlns:a16="http://schemas.microsoft.com/office/drawing/2014/main" id="{83698E97-A419-4DAC-AC23-8E95B4AB57DF}"/>
              </a:ext>
            </a:extLst>
          </p:cNvPr>
          <p:cNvSpPr>
            <a:spLocks noGrp="1"/>
          </p:cNvSpPr>
          <p:nvPr>
            <p:ph type="pic" sz="quarter" idx="34"/>
          </p:nvPr>
        </p:nvSpPr>
        <p:spPr>
          <a:xfrm>
            <a:off x="6197771" y="3536566"/>
            <a:ext cx="2573356" cy="2576412"/>
          </a:xfrm>
          <a:prstGeom prst="rect">
            <a:avLst/>
          </a:prstGeom>
          <a:solidFill>
            <a:schemeClr val="accent2"/>
          </a:solidFill>
        </p:spPr>
        <p:txBody>
          <a:bodyPr lIns="144000" tIns="90000" rIns="144000" bIns="90000"/>
          <a:lstStyle/>
          <a:p>
            <a:r>
              <a:rPr lang="en-US" dirty="0"/>
              <a:t>Click icon to add picture</a:t>
            </a:r>
            <a:endParaRPr lang="nb-NO"/>
          </a:p>
        </p:txBody>
      </p:sp>
      <p:sp>
        <p:nvSpPr>
          <p:cNvPr id="9" name="Plassholder for bilde 8">
            <a:extLst>
              <a:ext uri="{FF2B5EF4-FFF2-40B4-BE49-F238E27FC236}">
                <a16:creationId xmlns:a16="http://schemas.microsoft.com/office/drawing/2014/main" id="{0B94246B-CCE5-4271-8254-9221CD0FC5AF}"/>
              </a:ext>
            </a:extLst>
          </p:cNvPr>
          <p:cNvSpPr>
            <a:spLocks noGrp="1"/>
          </p:cNvSpPr>
          <p:nvPr>
            <p:ph type="pic" sz="quarter" idx="36"/>
          </p:nvPr>
        </p:nvSpPr>
        <p:spPr>
          <a:xfrm>
            <a:off x="8978482" y="3536566"/>
            <a:ext cx="2573356" cy="2576412"/>
          </a:xfrm>
          <a:prstGeom prst="rect">
            <a:avLst/>
          </a:prstGeom>
          <a:solidFill>
            <a:schemeClr val="accent2"/>
          </a:solidFill>
        </p:spPr>
        <p:txBody>
          <a:bodyPr lIns="144000" tIns="90000" rIns="144000" bIns="90000"/>
          <a:lstStyle/>
          <a:p>
            <a:r>
              <a:rPr lang="en-US" dirty="0"/>
              <a:t>Click icon to add picture</a:t>
            </a:r>
            <a:endParaRPr lang="nb-NO"/>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7747942" y="2304060"/>
            <a:ext cx="2249912" cy="2249879"/>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8280702" y="2831264"/>
            <a:ext cx="1205775" cy="1205793"/>
          </a:xfrm>
          <a:solidFill>
            <a:srgbClr val="001639"/>
          </a:solidFill>
        </p:spPr>
        <p:txBody>
          <a:bodyPr/>
          <a:lstStyle>
            <a:lvl1pPr marL="0" indent="0" rtl="0">
              <a:buNone/>
              <a:tabLst>
                <a:tab pos="400130" algn="l"/>
              </a:tabLst>
              <a:defRPr sz="100">
                <a:solidFill>
                  <a:schemeClr val="bg1"/>
                </a:solidFill>
              </a:defRPr>
            </a:lvl1pPr>
          </a:lstStyle>
          <a:p>
            <a:pPr lvl="0"/>
            <a:r>
              <a:rPr lang="nb-NO"/>
              <a:t> </a:t>
            </a:r>
            <a:endParaRPr lang="en-GB"/>
          </a:p>
        </p:txBody>
      </p:sp>
      <p:sp>
        <p:nvSpPr>
          <p:cNvPr id="15" name="Plassholder for innhold 1">
            <a:extLst>
              <a:ext uri="{FF2B5EF4-FFF2-40B4-BE49-F238E27FC236}">
                <a16:creationId xmlns:a16="http://schemas.microsoft.com/office/drawing/2014/main" id="{C98411DD-F946-48B2-9875-323348AF6E92}"/>
              </a:ext>
            </a:extLst>
          </p:cNvPr>
          <p:cNvSpPr>
            <a:spLocks noGrp="1"/>
          </p:cNvSpPr>
          <p:nvPr>
            <p:ph sz="quarter" idx="32"/>
          </p:nvPr>
        </p:nvSpPr>
        <p:spPr>
          <a:xfrm>
            <a:off x="8431515" y="3061193"/>
            <a:ext cx="882765" cy="743036"/>
          </a:xfrm>
          <a:prstGeom prst="rect">
            <a:avLst/>
          </a:prstGeom>
        </p:spPr>
        <p:txBody>
          <a:bodyPr lIns="0" tIns="0" rIns="0" bIns="0" anchor="ctr" anchorCtr="0"/>
          <a:lstStyle>
            <a:lvl1pPr marL="0" indent="0" algn="ctr">
              <a:spcBef>
                <a:spcPts val="0"/>
              </a:spcBef>
              <a:buNone/>
              <a:defRPr sz="1000" b="1">
                <a:solidFill>
                  <a:schemeClr val="bg1"/>
                </a:solidFill>
                <a:latin typeface="Calibri" panose="020F0502020204030204" pitchFamily="34" charset="0"/>
                <a:cs typeface="Calibri" panose="020F0502020204030204" pitchFamily="34" charset="0"/>
              </a:defRPr>
            </a:lvl1pPr>
            <a:lvl2pPr marL="228646" indent="0">
              <a:buNone/>
              <a:defRPr/>
            </a:lvl2pPr>
            <a:lvl3pPr marL="396079" indent="0">
              <a:buNone/>
              <a:defRPr/>
            </a:lvl3pPr>
            <a:lvl4pPr marL="594118" indent="0">
              <a:buNone/>
              <a:defRPr/>
            </a:lvl4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17" name="Plassholder for tekst 10">
            <a:extLst>
              <a:ext uri="{FF2B5EF4-FFF2-40B4-BE49-F238E27FC236}">
                <a16:creationId xmlns:a16="http://schemas.microsoft.com/office/drawing/2014/main" id="{A4CCF822-803F-43D6-9552-A130BB9789EF}"/>
              </a:ext>
            </a:extLst>
          </p:cNvPr>
          <p:cNvSpPr>
            <a:spLocks noGrp="1"/>
          </p:cNvSpPr>
          <p:nvPr>
            <p:ph type="body" sz="quarter" idx="16"/>
          </p:nvPr>
        </p:nvSpPr>
        <p:spPr>
          <a:xfrm>
            <a:off x="640162" y="3438000"/>
            <a:ext cx="5338506" cy="319919"/>
          </a:xfrm>
        </p:spPr>
        <p:txBody>
          <a:bodyPr>
            <a:noAutofit/>
          </a:bodyPr>
          <a:lstStyle>
            <a:lvl1pPr marL="0" indent="0" algn="l">
              <a:buNone/>
              <a:defRPr sz="2000">
                <a:solidFill>
                  <a:srgbClr val="001639"/>
                </a:solidFill>
              </a:defRPr>
            </a:lvl1pPr>
          </a:lstStyle>
          <a:p>
            <a:pPr lvl="0"/>
            <a:r>
              <a:rPr lang="en-US"/>
              <a:t>Edit Master text styles</a:t>
            </a:r>
          </a:p>
        </p:txBody>
      </p:sp>
      <p:sp>
        <p:nvSpPr>
          <p:cNvPr id="18" name="Plassholder for tekst 3">
            <a:extLst>
              <a:ext uri="{FF2B5EF4-FFF2-40B4-BE49-F238E27FC236}">
                <a16:creationId xmlns:a16="http://schemas.microsoft.com/office/drawing/2014/main" id="{88328CA5-521D-49C0-A5FB-4EC5862E8693}"/>
              </a:ext>
            </a:extLst>
          </p:cNvPr>
          <p:cNvSpPr>
            <a:spLocks noGrp="1"/>
          </p:cNvSpPr>
          <p:nvPr>
            <p:ph type="body" sz="quarter" idx="37" hasCustomPrompt="1"/>
          </p:nvPr>
        </p:nvSpPr>
        <p:spPr>
          <a:xfrm>
            <a:off x="640163" y="2126974"/>
            <a:ext cx="5350253"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1451778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pecial slice five contentboxes">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8" name="Content Placeholder 2">
            <a:extLst>
              <a:ext uri="{FF2B5EF4-FFF2-40B4-BE49-F238E27FC236}">
                <a16:creationId xmlns:a16="http://schemas.microsoft.com/office/drawing/2014/main" id="{03AEAD4E-1EC8-4C57-BA76-85BA349C4319}"/>
              </a:ext>
            </a:extLst>
          </p:cNvPr>
          <p:cNvSpPr>
            <a:spLocks noGrp="1"/>
          </p:cNvSpPr>
          <p:nvPr>
            <p:ph sz="half" idx="20"/>
          </p:nvPr>
        </p:nvSpPr>
        <p:spPr>
          <a:xfrm>
            <a:off x="8978482" y="750181"/>
            <a:ext cx="2573356" cy="2576412"/>
          </a:xfrm>
          <a:solidFill>
            <a:schemeClr val="accent2"/>
          </a:solidFill>
        </p:spPr>
        <p:txBody>
          <a:bodyPr lIns="144000" tIns="90000" rIns="144000" bIns="90000" anchor="t" anchorCtr="0"/>
          <a:lstStyle>
            <a:lvl1pPr algn="r">
              <a:defRPr sz="2000" b="1"/>
            </a:lvl1pPr>
            <a:lvl2pPr algn="r">
              <a:defRPr/>
            </a:lvl2pPr>
            <a:lvl3pPr algn="r">
              <a:defRPr/>
            </a:lvl3pPr>
            <a:lvl4pPr algn="r">
              <a:defRPr/>
            </a:lvl4pPr>
            <a:lvl5pPr algn="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BBED92E-36C7-4AC1-B14C-41D2B90B0DC0}"/>
              </a:ext>
            </a:extLst>
          </p:cNvPr>
          <p:cNvSpPr>
            <a:spLocks noGrp="1"/>
          </p:cNvSpPr>
          <p:nvPr>
            <p:ph sz="half" idx="21"/>
          </p:nvPr>
        </p:nvSpPr>
        <p:spPr>
          <a:xfrm>
            <a:off x="8978482" y="3536566"/>
            <a:ext cx="2573356" cy="2576412"/>
          </a:xfrm>
          <a:solidFill>
            <a:schemeClr val="accent2"/>
          </a:solidFill>
        </p:spPr>
        <p:txBody>
          <a:bodyPr lIns="144000" tIns="90000" rIns="144000" bIns="90000" anchor="b" anchorCtr="0"/>
          <a:lstStyle>
            <a:lvl1pPr algn="r">
              <a:defRPr sz="2000" b="1"/>
            </a:lvl1pPr>
            <a:lvl2pPr algn="r">
              <a:defRPr/>
            </a:lvl2pPr>
            <a:lvl3pPr algn="r">
              <a:defRPr/>
            </a:lvl3pPr>
            <a:lvl4pPr algn="r">
              <a:defRPr/>
            </a:lvl4pPr>
            <a:lvl5pPr algn="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42A3A9CD-0E85-4C4F-90A1-4B5BD923B4BF}"/>
              </a:ext>
            </a:extLst>
          </p:cNvPr>
          <p:cNvSpPr>
            <a:spLocks noGrp="1"/>
          </p:cNvSpPr>
          <p:nvPr>
            <p:ph sz="half" idx="22"/>
          </p:nvPr>
        </p:nvSpPr>
        <p:spPr>
          <a:xfrm>
            <a:off x="6197771" y="750181"/>
            <a:ext cx="2573356" cy="2576412"/>
          </a:xfrm>
          <a:solidFill>
            <a:schemeClr val="accent2"/>
          </a:solidFill>
        </p:spPr>
        <p:txBody>
          <a:bodyPr lIns="144000" tIns="90000" rIns="144000" bIns="90000" anchor="t" anchorCtr="0"/>
          <a:lstStyle>
            <a:lvl1pPr>
              <a:defRPr sz="20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558D2BEF-D65E-4E0A-954B-4A84CA17B6AE}"/>
              </a:ext>
            </a:extLst>
          </p:cNvPr>
          <p:cNvSpPr>
            <a:spLocks noGrp="1"/>
          </p:cNvSpPr>
          <p:nvPr>
            <p:ph sz="half" idx="23"/>
          </p:nvPr>
        </p:nvSpPr>
        <p:spPr>
          <a:xfrm>
            <a:off x="6197771" y="3536566"/>
            <a:ext cx="2573356" cy="2576412"/>
          </a:xfrm>
          <a:solidFill>
            <a:schemeClr val="accent2"/>
          </a:solidFill>
        </p:spPr>
        <p:txBody>
          <a:bodyPr lIns="144000" tIns="90000" rIns="144000" bIns="90000" anchor="b" anchorCtr="0"/>
          <a:lstStyle>
            <a:lvl1pPr>
              <a:defRPr sz="20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7747942" y="2304060"/>
            <a:ext cx="2249912" cy="2249879"/>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8280702" y="2831264"/>
            <a:ext cx="1205775" cy="1205793"/>
          </a:xfrm>
          <a:solidFill>
            <a:srgbClr val="001639"/>
          </a:solidFill>
        </p:spPr>
        <p:txBody>
          <a:bodyPr/>
          <a:lstStyle>
            <a:lvl1pPr marL="0" indent="0" rtl="0">
              <a:buNone/>
              <a:tabLst>
                <a:tab pos="400130" algn="l"/>
              </a:tabLst>
              <a:defRPr sz="100">
                <a:solidFill>
                  <a:schemeClr val="bg1"/>
                </a:solidFill>
              </a:defRPr>
            </a:lvl1pPr>
          </a:lstStyle>
          <a:p>
            <a:pPr lvl="0"/>
            <a:r>
              <a:rPr lang="nb-NO"/>
              <a:t> </a:t>
            </a:r>
            <a:endParaRPr lang="en-GB"/>
          </a:p>
        </p:txBody>
      </p:sp>
      <p:sp>
        <p:nvSpPr>
          <p:cNvPr id="15" name="Content Placeholder 2">
            <a:extLst>
              <a:ext uri="{FF2B5EF4-FFF2-40B4-BE49-F238E27FC236}">
                <a16:creationId xmlns:a16="http://schemas.microsoft.com/office/drawing/2014/main" id="{8653E4DC-128A-4713-9A44-7CCFCF3AFF2C}"/>
              </a:ext>
            </a:extLst>
          </p:cNvPr>
          <p:cNvSpPr>
            <a:spLocks noGrp="1"/>
          </p:cNvSpPr>
          <p:nvPr>
            <p:ph sz="half" idx="32"/>
          </p:nvPr>
        </p:nvSpPr>
        <p:spPr>
          <a:xfrm>
            <a:off x="3425967" y="750182"/>
            <a:ext cx="2573356" cy="5357636"/>
          </a:xfrm>
          <a:solidFill>
            <a:schemeClr val="accent2"/>
          </a:solidFill>
        </p:spPr>
        <p:txBody>
          <a:bodyPr lIns="144000" tIns="90000" rIns="144000" bIns="90000" anchor="t" anchorCtr="0"/>
          <a:lstStyle>
            <a:lvl1pPr>
              <a:defRPr sz="20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lassholder for innhold 1">
            <a:extLst>
              <a:ext uri="{FF2B5EF4-FFF2-40B4-BE49-F238E27FC236}">
                <a16:creationId xmlns:a16="http://schemas.microsoft.com/office/drawing/2014/main" id="{1343B480-9E8A-43C4-A82D-03E098F947C0}"/>
              </a:ext>
            </a:extLst>
          </p:cNvPr>
          <p:cNvSpPr>
            <a:spLocks noGrp="1"/>
          </p:cNvSpPr>
          <p:nvPr>
            <p:ph sz="quarter" idx="33"/>
          </p:nvPr>
        </p:nvSpPr>
        <p:spPr>
          <a:xfrm>
            <a:off x="8430981" y="3061054"/>
            <a:ext cx="882765" cy="743036"/>
          </a:xfrm>
          <a:prstGeom prst="rect">
            <a:avLst/>
          </a:prstGeom>
        </p:spPr>
        <p:txBody>
          <a:bodyPr lIns="0" tIns="0" rIns="0" bIns="0" anchor="ctr" anchorCtr="0"/>
          <a:lstStyle>
            <a:lvl1pPr marL="0" indent="0" algn="ctr">
              <a:spcBef>
                <a:spcPts val="0"/>
              </a:spcBef>
              <a:buNone/>
              <a:defRPr sz="1000" b="1">
                <a:solidFill>
                  <a:schemeClr val="bg1"/>
                </a:solidFill>
                <a:latin typeface="Calibri" panose="020F0502020204030204" pitchFamily="34" charset="0"/>
                <a:cs typeface="Calibri" panose="020F0502020204030204" pitchFamily="34" charset="0"/>
              </a:defRPr>
            </a:lvl1pPr>
            <a:lvl2pPr marL="228646" indent="0">
              <a:buNone/>
              <a:defRPr/>
            </a:lvl2pPr>
            <a:lvl3pPr marL="396079" indent="0">
              <a:buNone/>
              <a:defRPr/>
            </a:lvl3pPr>
            <a:lvl4pPr marL="594118" indent="0">
              <a:buNone/>
              <a:defRPr/>
            </a:lvl4pPr>
          </a:lstStyle>
          <a:p>
            <a:pPr lvl="0"/>
            <a:r>
              <a:rPr lang="en-US"/>
              <a:t>Edit Master text styles</a:t>
            </a:r>
          </a:p>
        </p:txBody>
      </p:sp>
      <p:sp>
        <p:nvSpPr>
          <p:cNvPr id="18" name="Plassholder for tekst 10">
            <a:extLst>
              <a:ext uri="{FF2B5EF4-FFF2-40B4-BE49-F238E27FC236}">
                <a16:creationId xmlns:a16="http://schemas.microsoft.com/office/drawing/2014/main" id="{56B06E5B-200A-43BB-8B56-21F1084BBA65}"/>
              </a:ext>
            </a:extLst>
          </p:cNvPr>
          <p:cNvSpPr>
            <a:spLocks noGrp="1"/>
          </p:cNvSpPr>
          <p:nvPr>
            <p:ph type="body" sz="quarter" idx="16"/>
          </p:nvPr>
        </p:nvSpPr>
        <p:spPr>
          <a:xfrm>
            <a:off x="640163" y="3438000"/>
            <a:ext cx="2560654" cy="319919"/>
          </a:xfrm>
        </p:spPr>
        <p:txBody>
          <a:bodyPr>
            <a:noAutofit/>
          </a:bodyPr>
          <a:lstStyle>
            <a:lvl1pPr marL="0" indent="0" algn="l">
              <a:buNone/>
              <a:defRPr sz="2000">
                <a:solidFill>
                  <a:srgbClr val="001639"/>
                </a:solidFill>
              </a:defRPr>
            </a:lvl1pPr>
          </a:lstStyle>
          <a:p>
            <a:pPr lvl="0"/>
            <a:r>
              <a:rPr lang="en-US"/>
              <a:t>Edit Master text styles</a:t>
            </a:r>
          </a:p>
        </p:txBody>
      </p:sp>
      <p:sp>
        <p:nvSpPr>
          <p:cNvPr id="21" name="Plassholder for tekst 3">
            <a:extLst>
              <a:ext uri="{FF2B5EF4-FFF2-40B4-BE49-F238E27FC236}">
                <a16:creationId xmlns:a16="http://schemas.microsoft.com/office/drawing/2014/main" id="{3D681719-F6C9-4307-8387-1F514F5FEED1}"/>
              </a:ext>
            </a:extLst>
          </p:cNvPr>
          <p:cNvSpPr>
            <a:spLocks noGrp="1"/>
          </p:cNvSpPr>
          <p:nvPr>
            <p:ph type="body" sz="quarter" idx="34" hasCustomPrompt="1"/>
          </p:nvPr>
        </p:nvSpPr>
        <p:spPr>
          <a:xfrm>
            <a:off x="640163" y="2126974"/>
            <a:ext cx="2569543"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27156368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pecial slice five pictures">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B8A30FB1-9E28-46D9-B4EB-B2FC145DAAB1}"/>
              </a:ext>
            </a:extLst>
          </p:cNvPr>
          <p:cNvSpPr>
            <a:spLocks noGrp="1"/>
          </p:cNvSpPr>
          <p:nvPr>
            <p:ph type="pic" sz="quarter" idx="35"/>
          </p:nvPr>
        </p:nvSpPr>
        <p:spPr>
          <a:xfrm>
            <a:off x="6197771" y="3536566"/>
            <a:ext cx="2573356" cy="2576412"/>
          </a:xfrm>
          <a:prstGeom prst="rect">
            <a:avLst/>
          </a:prstGeom>
          <a:solidFill>
            <a:schemeClr val="accent2"/>
          </a:solidFill>
        </p:spPr>
        <p:txBody>
          <a:bodyPr lIns="144000" tIns="90000" rIns="144000" bIns="90000"/>
          <a:lstStyle/>
          <a:p>
            <a:r>
              <a:rPr lang="en-US" dirty="0"/>
              <a:t>Click icon to add picture</a:t>
            </a:r>
            <a:endParaRPr lang="nb-NO"/>
          </a:p>
        </p:txBody>
      </p:sp>
      <p:sp>
        <p:nvSpPr>
          <p:cNvPr id="5" name="Plassholder for bilde 4">
            <a:extLst>
              <a:ext uri="{FF2B5EF4-FFF2-40B4-BE49-F238E27FC236}">
                <a16:creationId xmlns:a16="http://schemas.microsoft.com/office/drawing/2014/main" id="{A1CD2809-5CF5-4AC7-97B5-0B15949F0D9F}"/>
              </a:ext>
            </a:extLst>
          </p:cNvPr>
          <p:cNvSpPr>
            <a:spLocks noGrp="1"/>
          </p:cNvSpPr>
          <p:nvPr>
            <p:ph type="pic" sz="quarter" idx="36"/>
          </p:nvPr>
        </p:nvSpPr>
        <p:spPr>
          <a:xfrm>
            <a:off x="6197771" y="750181"/>
            <a:ext cx="2573356" cy="2576412"/>
          </a:xfrm>
          <a:prstGeom prst="rect">
            <a:avLst/>
          </a:prstGeom>
          <a:solidFill>
            <a:schemeClr val="accent2"/>
          </a:solidFill>
        </p:spPr>
        <p:txBody>
          <a:bodyPr lIns="144000" tIns="90000" rIns="144000" bIns="90000"/>
          <a:lstStyle/>
          <a:p>
            <a:r>
              <a:rPr lang="en-US" dirty="0"/>
              <a:t>Click icon to add picture</a:t>
            </a:r>
            <a:endParaRPr lang="nb-NO"/>
          </a:p>
        </p:txBody>
      </p:sp>
      <p:sp>
        <p:nvSpPr>
          <p:cNvPr id="16" name="Plassholder for bilde 15">
            <a:extLst>
              <a:ext uri="{FF2B5EF4-FFF2-40B4-BE49-F238E27FC236}">
                <a16:creationId xmlns:a16="http://schemas.microsoft.com/office/drawing/2014/main" id="{EE28B525-B554-47FD-AB30-78CF98C5AE62}"/>
              </a:ext>
            </a:extLst>
          </p:cNvPr>
          <p:cNvSpPr>
            <a:spLocks noGrp="1"/>
          </p:cNvSpPr>
          <p:nvPr>
            <p:ph type="pic" sz="quarter" idx="38"/>
          </p:nvPr>
        </p:nvSpPr>
        <p:spPr>
          <a:xfrm>
            <a:off x="8978482" y="3536566"/>
            <a:ext cx="2573356" cy="2576412"/>
          </a:xfrm>
          <a:prstGeom prst="rect">
            <a:avLst/>
          </a:prstGeom>
          <a:solidFill>
            <a:schemeClr val="accent2"/>
          </a:solidFill>
        </p:spPr>
        <p:txBody>
          <a:bodyPr lIns="144000" tIns="90000" rIns="144000" bIns="90000"/>
          <a:lstStyle/>
          <a:p>
            <a:r>
              <a:rPr lang="en-US" dirty="0"/>
              <a:t>Click icon to add picture</a:t>
            </a:r>
            <a:endParaRPr lang="nb-NO"/>
          </a:p>
        </p:txBody>
      </p:sp>
      <p:sp>
        <p:nvSpPr>
          <p:cNvPr id="9" name="Plassholder for bilde 8">
            <a:extLst>
              <a:ext uri="{FF2B5EF4-FFF2-40B4-BE49-F238E27FC236}">
                <a16:creationId xmlns:a16="http://schemas.microsoft.com/office/drawing/2014/main" id="{8B08171A-3F05-4809-B352-427F985217F6}"/>
              </a:ext>
            </a:extLst>
          </p:cNvPr>
          <p:cNvSpPr>
            <a:spLocks noGrp="1"/>
          </p:cNvSpPr>
          <p:nvPr>
            <p:ph type="pic" sz="quarter" idx="37"/>
          </p:nvPr>
        </p:nvSpPr>
        <p:spPr>
          <a:xfrm>
            <a:off x="8978482" y="750181"/>
            <a:ext cx="2573356" cy="2576412"/>
          </a:xfrm>
          <a:prstGeom prst="rect">
            <a:avLst/>
          </a:prstGeom>
          <a:solidFill>
            <a:schemeClr val="accent2"/>
          </a:solidFill>
        </p:spPr>
        <p:txBody>
          <a:bodyPr lIns="144000" tIns="90000" rIns="144000" bIns="90000"/>
          <a:lstStyle/>
          <a:p>
            <a:r>
              <a:rPr lang="en-US" dirty="0"/>
              <a:t>Click icon to add picture</a:t>
            </a:r>
            <a:endParaRPr lang="nb-NO"/>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7747942" y="2304060"/>
            <a:ext cx="2249912" cy="2249879"/>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8280702" y="2831264"/>
            <a:ext cx="1205775" cy="1205793"/>
          </a:xfrm>
          <a:solidFill>
            <a:srgbClr val="001639"/>
          </a:solidFill>
        </p:spPr>
        <p:txBody>
          <a:bodyPr/>
          <a:lstStyle>
            <a:lvl1pPr marL="0" indent="0" rtl="0">
              <a:buNone/>
              <a:tabLst>
                <a:tab pos="400130" algn="l"/>
              </a:tabLst>
              <a:defRPr sz="100">
                <a:solidFill>
                  <a:schemeClr val="bg1"/>
                </a:solidFill>
              </a:defRPr>
            </a:lvl1pPr>
          </a:lstStyle>
          <a:p>
            <a:pPr lvl="0"/>
            <a:r>
              <a:rPr lang="nb-NO"/>
              <a:t> </a:t>
            </a:r>
            <a:endParaRPr lang="en-GB"/>
          </a:p>
        </p:txBody>
      </p:sp>
      <p:sp>
        <p:nvSpPr>
          <p:cNvPr id="17" name="Plassholder for innhold 1">
            <a:extLst>
              <a:ext uri="{FF2B5EF4-FFF2-40B4-BE49-F238E27FC236}">
                <a16:creationId xmlns:a16="http://schemas.microsoft.com/office/drawing/2014/main" id="{1343B480-9E8A-43C4-A82D-03E098F947C0}"/>
              </a:ext>
            </a:extLst>
          </p:cNvPr>
          <p:cNvSpPr>
            <a:spLocks noGrp="1"/>
          </p:cNvSpPr>
          <p:nvPr>
            <p:ph sz="quarter" idx="33"/>
          </p:nvPr>
        </p:nvSpPr>
        <p:spPr>
          <a:xfrm>
            <a:off x="8430981" y="3061054"/>
            <a:ext cx="882765" cy="743036"/>
          </a:xfrm>
          <a:prstGeom prst="rect">
            <a:avLst/>
          </a:prstGeom>
        </p:spPr>
        <p:txBody>
          <a:bodyPr lIns="0" tIns="0" rIns="0" bIns="0" anchor="ctr" anchorCtr="0"/>
          <a:lstStyle>
            <a:lvl1pPr marL="0" indent="0" algn="ctr">
              <a:spcBef>
                <a:spcPts val="0"/>
              </a:spcBef>
              <a:buNone/>
              <a:defRPr sz="1000" b="1">
                <a:solidFill>
                  <a:schemeClr val="bg1"/>
                </a:solidFill>
                <a:latin typeface="Calibri" panose="020F0502020204030204" pitchFamily="34" charset="0"/>
                <a:cs typeface="Calibri" panose="020F0502020204030204" pitchFamily="34" charset="0"/>
              </a:defRPr>
            </a:lvl1pPr>
            <a:lvl2pPr marL="228646" indent="0">
              <a:buNone/>
              <a:defRPr/>
            </a:lvl2pPr>
            <a:lvl3pPr marL="396079" indent="0">
              <a:buNone/>
              <a:defRPr/>
            </a:lvl3pPr>
            <a:lvl4pPr marL="594118" indent="0">
              <a:buNone/>
              <a:defRPr/>
            </a:lvl4pPr>
          </a:lstStyle>
          <a:p>
            <a:pPr lvl="0"/>
            <a:r>
              <a:rPr lang="en-US"/>
              <a:t>Edit Master text styles</a:t>
            </a:r>
          </a:p>
        </p:txBody>
      </p:sp>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2" name="Plassholder for bilde 1">
            <a:extLst>
              <a:ext uri="{FF2B5EF4-FFF2-40B4-BE49-F238E27FC236}">
                <a16:creationId xmlns:a16="http://schemas.microsoft.com/office/drawing/2014/main" id="{478DDC0E-9B55-4A8C-BE53-8DA0708D506A}"/>
              </a:ext>
            </a:extLst>
          </p:cNvPr>
          <p:cNvSpPr>
            <a:spLocks noGrp="1"/>
          </p:cNvSpPr>
          <p:nvPr>
            <p:ph type="pic" sz="quarter" idx="34"/>
          </p:nvPr>
        </p:nvSpPr>
        <p:spPr>
          <a:xfrm>
            <a:off x="3425967" y="750182"/>
            <a:ext cx="2573356" cy="5357636"/>
          </a:xfrm>
          <a:prstGeom prst="rect">
            <a:avLst/>
          </a:prstGeom>
          <a:solidFill>
            <a:schemeClr val="accent2"/>
          </a:solidFill>
        </p:spPr>
        <p:txBody>
          <a:bodyPr lIns="144000" tIns="90000" rIns="144000" bIns="90000"/>
          <a:lstStyle/>
          <a:p>
            <a:r>
              <a:rPr lang="en-US" dirty="0"/>
              <a:t>Click icon to add picture</a:t>
            </a:r>
            <a:endParaRPr lang="nb-NO"/>
          </a:p>
        </p:txBody>
      </p:sp>
      <p:sp>
        <p:nvSpPr>
          <p:cNvPr id="15" name="Plassholder for tekst 10">
            <a:extLst>
              <a:ext uri="{FF2B5EF4-FFF2-40B4-BE49-F238E27FC236}">
                <a16:creationId xmlns:a16="http://schemas.microsoft.com/office/drawing/2014/main" id="{C474A60D-5302-4581-8F4F-0B83074EE90C}"/>
              </a:ext>
            </a:extLst>
          </p:cNvPr>
          <p:cNvSpPr>
            <a:spLocks noGrp="1"/>
          </p:cNvSpPr>
          <p:nvPr>
            <p:ph type="body" sz="quarter" idx="16"/>
          </p:nvPr>
        </p:nvSpPr>
        <p:spPr>
          <a:xfrm>
            <a:off x="640163" y="3438000"/>
            <a:ext cx="2560654" cy="319919"/>
          </a:xfrm>
        </p:spPr>
        <p:txBody>
          <a:bodyPr>
            <a:noAutofit/>
          </a:bodyPr>
          <a:lstStyle>
            <a:lvl1pPr marL="0" indent="0" algn="l">
              <a:buNone/>
              <a:defRPr sz="2000">
                <a:solidFill>
                  <a:srgbClr val="001639"/>
                </a:solidFill>
              </a:defRPr>
            </a:lvl1pPr>
          </a:lstStyle>
          <a:p>
            <a:pPr lvl="0"/>
            <a:r>
              <a:rPr lang="en-US"/>
              <a:t>Edit Master text styles</a:t>
            </a:r>
          </a:p>
        </p:txBody>
      </p:sp>
      <p:sp>
        <p:nvSpPr>
          <p:cNvPr id="20" name="Plassholder for tekst 3">
            <a:extLst>
              <a:ext uri="{FF2B5EF4-FFF2-40B4-BE49-F238E27FC236}">
                <a16:creationId xmlns:a16="http://schemas.microsoft.com/office/drawing/2014/main" id="{D3D77729-22E6-4E29-9F11-7E929AD25E71}"/>
              </a:ext>
            </a:extLst>
          </p:cNvPr>
          <p:cNvSpPr>
            <a:spLocks noGrp="1"/>
          </p:cNvSpPr>
          <p:nvPr>
            <p:ph type="body" sz="quarter" idx="39" hasCustomPrompt="1"/>
          </p:nvPr>
        </p:nvSpPr>
        <p:spPr>
          <a:xfrm>
            <a:off x="640163" y="2126974"/>
            <a:ext cx="2569543" cy="1349550"/>
          </a:xfrm>
        </p:spPr>
        <p:txBody>
          <a:bodyPr anchor="b" anchorCtr="0">
            <a:normAutofit/>
          </a:bodyPr>
          <a:lstStyle>
            <a:lvl1pPr marL="0" marR="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kumimoji="0" lang="en-GB" sz="3001" b="1" i="0" u="none" strike="noStrike" kern="1200" cap="none" spc="0" normalizeH="0" baseline="0" noProof="0" smtClean="0">
                <a:ln>
                  <a:noFill/>
                </a:ln>
                <a:solidFill>
                  <a:srgbClr val="001639"/>
                </a:solidFill>
                <a:effectLst/>
                <a:uLnTx/>
                <a:uFillTx/>
                <a:latin typeface="Calibri" panose="020F0502020204030204" pitchFamily="34" charset="0"/>
                <a:cs typeface="Calibri" panose="020F0502020204030204" pitchFamily="34" charset="0"/>
              </a:defRPr>
            </a:lvl1pPr>
          </a:lstStyle>
          <a:p>
            <a:pPr marL="0" marR="0" lvl="0" indent="0" algn="l" defTabSz="914446" rtl="0" eaLnBrk="1" fontAlgn="auto" latinLnBrk="0" hangingPunct="1">
              <a:lnSpc>
                <a:spcPct val="90000"/>
              </a:lnSpc>
              <a:spcBef>
                <a:spcPts val="0"/>
              </a:spcBef>
              <a:spcAft>
                <a:spcPts val="0"/>
              </a:spcAft>
              <a:buClrTx/>
              <a:buSzPct val="80000"/>
              <a:buFont typeface="Wingdings" panose="05000000000000000000" pitchFamily="2" charset="2"/>
              <a:buNone/>
              <a:tabLst/>
              <a:defRPr/>
            </a:pP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itl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three</a:t>
            </a:r>
            <a:r>
              <a:rPr kumimoji="0" lang="nb-NO"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 </a:t>
            </a:r>
            <a:r>
              <a:rPr kumimoji="0" lang="en-GB" sz="3001" b="1" i="0" u="none" strike="noStrike" kern="1200" cap="none" spc="0" normalizeH="0" baseline="0" noProof="0">
                <a:ln>
                  <a:noFill/>
                </a:ln>
                <a:solidFill>
                  <a:srgbClr val="001639"/>
                </a:solidFill>
                <a:effectLst/>
                <a:uLnTx/>
                <a:uFillTx/>
                <a:latin typeface="Calibri" panose="020F0502020204030204" pitchFamily="34" charset="0"/>
                <a:ea typeface="+mj-ea"/>
                <a:cs typeface="Calibri" panose="020F0502020204030204" pitchFamily="34" charset="0"/>
              </a:rPr>
              <a:t>lines maximum</a:t>
            </a:r>
          </a:p>
        </p:txBody>
      </p:sp>
    </p:spTree>
    <p:extLst>
      <p:ext uri="{BB962C8B-B14F-4D97-AF65-F5344CB8AC3E}">
        <p14:creationId xmlns:p14="http://schemas.microsoft.com/office/powerpoint/2010/main" val="3302474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hite - 3">
    <p:bg>
      <p:bgPr>
        <a:solidFill>
          <a:schemeClr val="bg1"/>
        </a:solidFill>
        <a:effectLst/>
      </p:bgPr>
    </p:bg>
    <p:spTree>
      <p:nvGrpSpPr>
        <p:cNvPr id="1" name=""/>
        <p:cNvGrpSpPr/>
        <p:nvPr/>
      </p:nvGrpSpPr>
      <p:grpSpPr>
        <a:xfrm>
          <a:off x="0" y="0"/>
          <a:ext cx="0" cy="0"/>
          <a:chOff x="0" y="0"/>
          <a:chExt cx="0" cy="0"/>
        </a:xfrm>
      </p:grpSpPr>
      <p:pic>
        <p:nvPicPr>
          <p:cNvPr id="4" name="Bilde 3" descr="Et bilde som inneholder innendørs&#10;&#10;Beskrivelse som er generert med høy visshet">
            <a:extLst>
              <a:ext uri="{FF2B5EF4-FFF2-40B4-BE49-F238E27FC236}">
                <a16:creationId xmlns:a16="http://schemas.microsoft.com/office/drawing/2014/main" id="{26C97B1B-8FEA-45A2-9E61-B42B8E208CB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7882" b="11843"/>
          <a:stretch/>
        </p:blipFill>
        <p:spPr>
          <a:xfrm rot="10800000">
            <a:off x="-4" y="750652"/>
            <a:ext cx="12192001" cy="5354904"/>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750657"/>
            <a:ext cx="4377307" cy="5391063"/>
          </a:xfrm>
          <a:solidFill>
            <a:schemeClr val="bg1"/>
          </a:solidFill>
        </p:spPr>
        <p:txBody>
          <a:bodyPr anchor="b" anchorCtr="0"/>
          <a:lstStyle>
            <a:lvl1pPr marL="0" indent="0" algn="ctr">
              <a:lnSpc>
                <a:spcPct val="120000"/>
              </a:lnSpc>
              <a:spcBef>
                <a:spcPts val="0"/>
              </a:spcBef>
              <a:buNone/>
              <a:defRPr sz="1400">
                <a:solidFill>
                  <a:srgbClr val="737B92"/>
                </a:solidFill>
                <a:latin typeface="Calibri" panose="020F0502020204030204" pitchFamily="34" charset="0"/>
                <a:cs typeface="Calibri" panose="020F0502020204030204" pitchFamily="34" charset="0"/>
              </a:defRPr>
            </a:lvl1pPr>
          </a:lstStyle>
          <a:p>
            <a:pPr lvl="0"/>
            <a:r>
              <a:rPr lang="en-GB"/>
              <a:t>Name, title</a:t>
            </a:r>
          </a:p>
        </p:txBody>
      </p:sp>
      <p:sp>
        <p:nvSpPr>
          <p:cNvPr id="3" name="Subtitle 2"/>
          <p:cNvSpPr>
            <a:spLocks noGrp="1"/>
          </p:cNvSpPr>
          <p:nvPr>
            <p:ph type="subTitle" idx="1" hasCustomPrompt="1"/>
          </p:nvPr>
        </p:nvSpPr>
        <p:spPr>
          <a:xfrm>
            <a:off x="2167220" y="2675466"/>
            <a:ext cx="3694641" cy="215468"/>
          </a:xfrm>
        </p:spPr>
        <p:txBody>
          <a:bodyPr wrap="square" anchor="b" anchorCtr="0">
            <a:spAutoFit/>
          </a:bodyPr>
          <a:lstStyle>
            <a:lvl1pPr marL="0" indent="0" algn="ctr">
              <a:buNone/>
              <a:defRPr sz="1400" cap="all" spc="105" baseline="0">
                <a:solidFill>
                  <a:srgbClr val="737B92"/>
                </a:solidFill>
                <a:latin typeface="Calibri" panose="020F0502020204030204" pitchFamily="34" charset="0"/>
                <a:cs typeface="Calibri" panose="020F0502020204030204"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SUBHEADLINE OPTIONAL</a:t>
            </a:r>
            <a:endParaRPr lang="en-US"/>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2167220" y="3943998"/>
            <a:ext cx="3694641" cy="307777"/>
          </a:xfrm>
        </p:spPr>
        <p:txBody>
          <a:bodyPr>
            <a:spAutoFit/>
          </a:bodyPr>
          <a:lstStyle>
            <a:lvl1pPr algn="ctr">
              <a:defRPr sz="1400">
                <a:solidFill>
                  <a:srgbClr val="737B92"/>
                </a:solidFill>
                <a:latin typeface="Calibri" panose="020F0502020204030204" pitchFamily="34" charset="0"/>
                <a:cs typeface="Calibri" panose="020F0502020204030204" pitchFamily="34" charset="0"/>
              </a:defRPr>
            </a:lvl1pPr>
          </a:lstStyle>
          <a:p>
            <a:fld id="{2B7489E5-72CC-4085-8A48-F641872D3FF9}" type="datetime1">
              <a:rPr lang="en-GB" smtClean="0"/>
              <a:pPr/>
              <a:t>06/06/2022</a:t>
            </a:fld>
            <a:endParaRPr lang="nb-NO"/>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3599529" y="750798"/>
            <a:ext cx="826117" cy="829153"/>
          </a:xfrm>
          <a:prstGeom prst="rect">
            <a:avLst/>
          </a:prstGeom>
          <a:blipFill>
            <a:blip r:embed="rId3"/>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A177778B-3F56-42E4-A061-05619FDB16BE}"/>
              </a:ext>
            </a:extLst>
          </p:cNvPr>
          <p:cNvSpPr>
            <a:spLocks noGrp="1"/>
          </p:cNvSpPr>
          <p:nvPr>
            <p:ph type="body" sz="quarter" idx="14"/>
          </p:nvPr>
        </p:nvSpPr>
        <p:spPr>
          <a:xfrm>
            <a:off x="2167220" y="3088539"/>
            <a:ext cx="3694641" cy="936117"/>
          </a:xfrm>
        </p:spPr>
        <p:txBody>
          <a:bodyPr lIns="0" tIns="0" rIns="0" bIns="0">
            <a:normAutofit/>
          </a:bodyPr>
          <a:lstStyle>
            <a:lvl1pPr marL="0" indent="0" algn="ctr">
              <a:lnSpc>
                <a:spcPct val="88000"/>
              </a:lnSpc>
              <a:buNone/>
              <a:defRPr sz="3000" b="1">
                <a:solidFill>
                  <a:srgbClr val="001639"/>
                </a:solidFill>
                <a:latin typeface="Calibri" panose="020F0502020204030204" pitchFamily="34" charset="0"/>
                <a:cs typeface="Calibri" panose="020F0502020204030204" pitchFamily="34" charset="0"/>
              </a:defRPr>
            </a:lvl1pPr>
          </a:lstStyle>
          <a:p>
            <a:pPr lvl="0"/>
            <a:r>
              <a:rPr lang="en-US"/>
              <a:t>Edit Master text styles</a:t>
            </a:r>
          </a:p>
        </p:txBody>
      </p:sp>
      <p:pic>
        <p:nvPicPr>
          <p:cNvPr id="9" name="Bilde 8" descr="Et bilde som inneholder objekt&#10;&#10;Beskrivelse som er generert med høy visshet">
            <a:extLst>
              <a:ext uri="{FF2B5EF4-FFF2-40B4-BE49-F238E27FC236}">
                <a16:creationId xmlns:a16="http://schemas.microsoft.com/office/drawing/2014/main" id="{A3B8B21F-4FDF-4E0A-9BF6-0FE65EE9253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4518514"/>
            <a:ext cx="12192000" cy="2339486"/>
          </a:xfrm>
          <a:prstGeom prst="rect">
            <a:avLst/>
          </a:prstGeom>
        </p:spPr>
      </p:pic>
      <p:sp>
        <p:nvSpPr>
          <p:cNvPr id="13" name="TekstSylinder 12">
            <a:extLst>
              <a:ext uri="{FF2B5EF4-FFF2-40B4-BE49-F238E27FC236}">
                <a16:creationId xmlns:a16="http://schemas.microsoft.com/office/drawing/2014/main" id="{677AFB21-1083-4C70-8623-364214221F21}"/>
              </a:ext>
            </a:extLst>
          </p:cNvPr>
          <p:cNvSpPr txBox="1"/>
          <p:nvPr userDrawn="1"/>
        </p:nvSpPr>
        <p:spPr>
          <a:xfrm>
            <a:off x="1819512" y="6367463"/>
            <a:ext cx="4377307" cy="317074"/>
          </a:xfrm>
          <a:prstGeom prst="rect">
            <a:avLst/>
          </a:prstGeom>
          <a:noFill/>
        </p:spPr>
        <p:txBody>
          <a:bodyPr wrap="square" lIns="144000" rIns="144000" rtlCol="0">
            <a:spAutoFit/>
          </a:bodyPr>
          <a:lstStyle/>
          <a:p>
            <a:pPr algn="ctr">
              <a:lnSpc>
                <a:spcPct val="110000"/>
              </a:lnSpc>
            </a:pPr>
            <a:r>
              <a:rPr lang="en-GB" sz="450" b="1" i="0" kern="1200" spc="20" baseline="0" dirty="0">
                <a:solidFill>
                  <a:srgbClr val="001639"/>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rgbClr val="001639"/>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450" b="0" i="0" kern="1200" spc="20" baseline="0" dirty="0">
                <a:solidFill>
                  <a:srgbClr val="001639"/>
                </a:solidFill>
                <a:effectLst/>
                <a:latin typeface="Calibri" panose="020F0502020204030204" pitchFamily="34" charset="0"/>
                <a:ea typeface="+mn-ea"/>
                <a:cs typeface="Calibri" panose="020F0502020204030204" pitchFamily="34" charset="0"/>
              </a:rPr>
            </a:br>
            <a:r>
              <a:rPr lang="en-GB" sz="450" b="0" i="0" kern="1200" spc="20" baseline="0" dirty="0">
                <a:solidFill>
                  <a:srgbClr val="001639"/>
                </a:solidFill>
                <a:effectLst/>
                <a:latin typeface="Calibri" panose="020F0502020204030204" pitchFamily="34" charset="0"/>
                <a:ea typeface="+mn-ea"/>
                <a:cs typeface="Calibri" panose="020F0502020204030204" pitchFamily="34" charset="0"/>
              </a:rPr>
              <a:t>© 2018 KONGSBERG – All rights reserved</a:t>
            </a:r>
            <a:r>
              <a:rPr lang="en-GB" sz="450" b="0" i="0" kern="1200" dirty="0">
                <a:solidFill>
                  <a:srgbClr val="001639"/>
                </a:solidFill>
                <a:effectLst/>
                <a:latin typeface="Calibri" panose="020F0502020204030204" pitchFamily="34" charset="0"/>
                <a:ea typeface="+mn-ea"/>
                <a:cs typeface="Calibri" panose="020F0502020204030204" pitchFamily="34" charset="0"/>
              </a:rPr>
              <a:t>.</a:t>
            </a:r>
            <a:endParaRPr lang="nb-NO">
              <a:solidFill>
                <a:srgbClr val="00163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903480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llag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1639"/>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p>
            <a:fld id="{7A3F00B2-786C-401B-9EB3-42A9D0DD4A9F}" type="slidenum">
              <a:rPr lang="nb-NO" smtClean="0"/>
              <a:t>‹#›</a:t>
            </a:fld>
            <a:endParaRPr lang="nb-NO"/>
          </a:p>
        </p:txBody>
      </p:sp>
      <p:sp>
        <p:nvSpPr>
          <p:cNvPr id="19" name="Plassholder for innhold 18">
            <a:extLst>
              <a:ext uri="{FF2B5EF4-FFF2-40B4-BE49-F238E27FC236}">
                <a16:creationId xmlns:a16="http://schemas.microsoft.com/office/drawing/2014/main" id="{4268314D-D62B-4DF1-A611-430DACFBDEBD}"/>
              </a:ext>
            </a:extLst>
          </p:cNvPr>
          <p:cNvSpPr>
            <a:spLocks noGrp="1"/>
          </p:cNvSpPr>
          <p:nvPr>
            <p:ph idx="13"/>
          </p:nvPr>
        </p:nvSpPr>
        <p:spPr>
          <a:xfrm>
            <a:off x="635083" y="3733041"/>
            <a:ext cx="2184684" cy="2374439"/>
          </a:xfrm>
          <a:custGeom>
            <a:avLst/>
            <a:gdLst>
              <a:gd name="connsiteX0" fmla="*/ 2178816 w 4368800"/>
              <a:gd name="connsiteY0" fmla="*/ 0 h 4748328"/>
              <a:gd name="connsiteX1" fmla="*/ 2570369 w 4368800"/>
              <a:gd name="connsiteY1" fmla="*/ 388140 h 4748328"/>
              <a:gd name="connsiteX2" fmla="*/ 4368800 w 4368800"/>
              <a:gd name="connsiteY2" fmla="*/ 388140 h 4748328"/>
              <a:gd name="connsiteX3" fmla="*/ 4368800 w 4368800"/>
              <a:gd name="connsiteY3" fmla="*/ 4748328 h 4748328"/>
              <a:gd name="connsiteX4" fmla="*/ 0 w 4368800"/>
              <a:gd name="connsiteY4" fmla="*/ 4748328 h 4748328"/>
              <a:gd name="connsiteX5" fmla="*/ 0 w 4368800"/>
              <a:gd name="connsiteY5" fmla="*/ 388140 h 4748328"/>
              <a:gd name="connsiteX6" fmla="*/ 1792058 w 4368800"/>
              <a:gd name="connsiteY6" fmla="*/ 388140 h 4748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748328">
                <a:moveTo>
                  <a:pt x="2178816" y="0"/>
                </a:moveTo>
                <a:lnTo>
                  <a:pt x="2570369" y="388140"/>
                </a:lnTo>
                <a:lnTo>
                  <a:pt x="4368800" y="388140"/>
                </a:lnTo>
                <a:lnTo>
                  <a:pt x="4368800" y="4748328"/>
                </a:lnTo>
                <a:lnTo>
                  <a:pt x="0" y="4748328"/>
                </a:lnTo>
                <a:lnTo>
                  <a:pt x="0" y="388140"/>
                </a:lnTo>
                <a:lnTo>
                  <a:pt x="1792058" y="388140"/>
                </a:lnTo>
                <a:close/>
              </a:path>
            </a:pathLst>
          </a:custGeom>
          <a:solidFill>
            <a:schemeClr val="accent2"/>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8" name="Plassholder for innhold 17">
            <a:extLst>
              <a:ext uri="{FF2B5EF4-FFF2-40B4-BE49-F238E27FC236}">
                <a16:creationId xmlns:a16="http://schemas.microsoft.com/office/drawing/2014/main" id="{03316748-1678-4BB4-ADFE-3F9341E47917}"/>
              </a:ext>
            </a:extLst>
          </p:cNvPr>
          <p:cNvSpPr>
            <a:spLocks noGrp="1"/>
          </p:cNvSpPr>
          <p:nvPr>
            <p:ph idx="15"/>
          </p:nvPr>
        </p:nvSpPr>
        <p:spPr>
          <a:xfrm>
            <a:off x="5003658" y="1748623"/>
            <a:ext cx="2184684" cy="2185446"/>
          </a:xfrm>
          <a:custGeom>
            <a:avLst/>
            <a:gdLst>
              <a:gd name="connsiteX0" fmla="*/ 0 w 4368800"/>
              <a:gd name="connsiteY0" fmla="*/ 0 h 4370387"/>
              <a:gd name="connsiteX1" fmla="*/ 4368800 w 4368800"/>
              <a:gd name="connsiteY1" fmla="*/ 0 h 4370387"/>
              <a:gd name="connsiteX2" fmla="*/ 4368800 w 4368800"/>
              <a:gd name="connsiteY2" fmla="*/ 4370387 h 4370387"/>
              <a:gd name="connsiteX3" fmla="*/ 2570369 w 4368800"/>
              <a:gd name="connsiteY3" fmla="*/ 4370387 h 4370387"/>
              <a:gd name="connsiteX4" fmla="*/ 2178816 w 4368800"/>
              <a:gd name="connsiteY4" fmla="*/ 3982247 h 4370387"/>
              <a:gd name="connsiteX5" fmla="*/ 1792058 w 4368800"/>
              <a:gd name="connsiteY5" fmla="*/ 4370387 h 4370387"/>
              <a:gd name="connsiteX6" fmla="*/ 0 w 4368800"/>
              <a:gd name="connsiteY6" fmla="*/ 4370387 h 4370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370387">
                <a:moveTo>
                  <a:pt x="0" y="0"/>
                </a:moveTo>
                <a:lnTo>
                  <a:pt x="4368800" y="0"/>
                </a:lnTo>
                <a:lnTo>
                  <a:pt x="4368800" y="4370387"/>
                </a:lnTo>
                <a:lnTo>
                  <a:pt x="2570369" y="4370387"/>
                </a:lnTo>
                <a:lnTo>
                  <a:pt x="2178816" y="3982247"/>
                </a:lnTo>
                <a:lnTo>
                  <a:pt x="1792058" y="4370387"/>
                </a:lnTo>
                <a:lnTo>
                  <a:pt x="0" y="4370387"/>
                </a:lnTo>
                <a:close/>
              </a:path>
            </a:pathLst>
          </a:custGeom>
          <a:solidFill>
            <a:schemeClr val="accent1"/>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0" name="Plassholder for innhold 19">
            <a:extLst>
              <a:ext uri="{FF2B5EF4-FFF2-40B4-BE49-F238E27FC236}">
                <a16:creationId xmlns:a16="http://schemas.microsoft.com/office/drawing/2014/main" id="{D552B9FC-449C-4CF7-8BB0-5E3BE71BC72E}"/>
              </a:ext>
            </a:extLst>
          </p:cNvPr>
          <p:cNvSpPr>
            <a:spLocks noGrp="1"/>
          </p:cNvSpPr>
          <p:nvPr>
            <p:ph idx="16"/>
          </p:nvPr>
        </p:nvSpPr>
        <p:spPr>
          <a:xfrm>
            <a:off x="634686" y="1748623"/>
            <a:ext cx="2184684" cy="2185446"/>
          </a:xfrm>
          <a:custGeom>
            <a:avLst/>
            <a:gdLst>
              <a:gd name="connsiteX0" fmla="*/ 0 w 4368800"/>
              <a:gd name="connsiteY0" fmla="*/ 0 h 4370387"/>
              <a:gd name="connsiteX1" fmla="*/ 4368800 w 4368800"/>
              <a:gd name="connsiteY1" fmla="*/ 0 h 4370387"/>
              <a:gd name="connsiteX2" fmla="*/ 4368800 w 4368800"/>
              <a:gd name="connsiteY2" fmla="*/ 4370387 h 4370387"/>
              <a:gd name="connsiteX3" fmla="*/ 2570369 w 4368800"/>
              <a:gd name="connsiteY3" fmla="*/ 4370387 h 4370387"/>
              <a:gd name="connsiteX4" fmla="*/ 2178816 w 4368800"/>
              <a:gd name="connsiteY4" fmla="*/ 3982247 h 4370387"/>
              <a:gd name="connsiteX5" fmla="*/ 1792058 w 4368800"/>
              <a:gd name="connsiteY5" fmla="*/ 4370387 h 4370387"/>
              <a:gd name="connsiteX6" fmla="*/ 0 w 4368800"/>
              <a:gd name="connsiteY6" fmla="*/ 4370387 h 4370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370387">
                <a:moveTo>
                  <a:pt x="0" y="0"/>
                </a:moveTo>
                <a:lnTo>
                  <a:pt x="4368800" y="0"/>
                </a:lnTo>
                <a:lnTo>
                  <a:pt x="4368800" y="4370387"/>
                </a:lnTo>
                <a:lnTo>
                  <a:pt x="2570369" y="4370387"/>
                </a:lnTo>
                <a:lnTo>
                  <a:pt x="2178816" y="3982247"/>
                </a:lnTo>
                <a:lnTo>
                  <a:pt x="1792058" y="4370387"/>
                </a:lnTo>
                <a:lnTo>
                  <a:pt x="0" y="4370387"/>
                </a:lnTo>
                <a:close/>
              </a:path>
            </a:pathLst>
          </a:custGeom>
          <a:solidFill>
            <a:schemeClr val="accent1"/>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1" name="Plassholder for innhold 20">
            <a:extLst>
              <a:ext uri="{FF2B5EF4-FFF2-40B4-BE49-F238E27FC236}">
                <a16:creationId xmlns:a16="http://schemas.microsoft.com/office/drawing/2014/main" id="{999AB8A3-E6B7-4911-BC04-60B1DA45834F}"/>
              </a:ext>
            </a:extLst>
          </p:cNvPr>
          <p:cNvSpPr>
            <a:spLocks noGrp="1"/>
          </p:cNvSpPr>
          <p:nvPr>
            <p:ph idx="17"/>
          </p:nvPr>
        </p:nvSpPr>
        <p:spPr>
          <a:xfrm>
            <a:off x="5003658" y="3733041"/>
            <a:ext cx="2184684" cy="2374439"/>
          </a:xfrm>
          <a:custGeom>
            <a:avLst/>
            <a:gdLst>
              <a:gd name="connsiteX0" fmla="*/ 2178816 w 4368800"/>
              <a:gd name="connsiteY0" fmla="*/ 0 h 4748328"/>
              <a:gd name="connsiteX1" fmla="*/ 2570369 w 4368800"/>
              <a:gd name="connsiteY1" fmla="*/ 388140 h 4748328"/>
              <a:gd name="connsiteX2" fmla="*/ 4368800 w 4368800"/>
              <a:gd name="connsiteY2" fmla="*/ 388140 h 4748328"/>
              <a:gd name="connsiteX3" fmla="*/ 4368800 w 4368800"/>
              <a:gd name="connsiteY3" fmla="*/ 4748328 h 4748328"/>
              <a:gd name="connsiteX4" fmla="*/ 0 w 4368800"/>
              <a:gd name="connsiteY4" fmla="*/ 4748328 h 4748328"/>
              <a:gd name="connsiteX5" fmla="*/ 0 w 4368800"/>
              <a:gd name="connsiteY5" fmla="*/ 388140 h 4748328"/>
              <a:gd name="connsiteX6" fmla="*/ 1792058 w 4368800"/>
              <a:gd name="connsiteY6" fmla="*/ 388140 h 4748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748328">
                <a:moveTo>
                  <a:pt x="2178816" y="0"/>
                </a:moveTo>
                <a:lnTo>
                  <a:pt x="2570369" y="388140"/>
                </a:lnTo>
                <a:lnTo>
                  <a:pt x="4368800" y="388140"/>
                </a:lnTo>
                <a:lnTo>
                  <a:pt x="4368800" y="4748328"/>
                </a:lnTo>
                <a:lnTo>
                  <a:pt x="0" y="4748328"/>
                </a:lnTo>
                <a:lnTo>
                  <a:pt x="0" y="388140"/>
                </a:lnTo>
                <a:lnTo>
                  <a:pt x="1792058" y="388140"/>
                </a:lnTo>
                <a:close/>
              </a:path>
            </a:pathLst>
          </a:custGeom>
          <a:solidFill>
            <a:schemeClr val="accent2"/>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2" name="Plassholder for innhold 21">
            <a:extLst>
              <a:ext uri="{FF2B5EF4-FFF2-40B4-BE49-F238E27FC236}">
                <a16:creationId xmlns:a16="http://schemas.microsoft.com/office/drawing/2014/main" id="{E4B1010C-3649-4EC4-A406-268B1F87917D}"/>
              </a:ext>
            </a:extLst>
          </p:cNvPr>
          <p:cNvSpPr>
            <a:spLocks noGrp="1"/>
          </p:cNvSpPr>
          <p:nvPr>
            <p:ph idx="18"/>
          </p:nvPr>
        </p:nvSpPr>
        <p:spPr>
          <a:xfrm>
            <a:off x="9372614" y="1748623"/>
            <a:ext cx="2184684" cy="2185446"/>
          </a:xfrm>
          <a:custGeom>
            <a:avLst/>
            <a:gdLst>
              <a:gd name="connsiteX0" fmla="*/ 0 w 4368800"/>
              <a:gd name="connsiteY0" fmla="*/ 0 h 4370387"/>
              <a:gd name="connsiteX1" fmla="*/ 4368800 w 4368800"/>
              <a:gd name="connsiteY1" fmla="*/ 0 h 4370387"/>
              <a:gd name="connsiteX2" fmla="*/ 4368800 w 4368800"/>
              <a:gd name="connsiteY2" fmla="*/ 4370387 h 4370387"/>
              <a:gd name="connsiteX3" fmla="*/ 2570369 w 4368800"/>
              <a:gd name="connsiteY3" fmla="*/ 4370387 h 4370387"/>
              <a:gd name="connsiteX4" fmla="*/ 2178816 w 4368800"/>
              <a:gd name="connsiteY4" fmla="*/ 3982247 h 4370387"/>
              <a:gd name="connsiteX5" fmla="*/ 1792058 w 4368800"/>
              <a:gd name="connsiteY5" fmla="*/ 4370387 h 4370387"/>
              <a:gd name="connsiteX6" fmla="*/ 0 w 4368800"/>
              <a:gd name="connsiteY6" fmla="*/ 4370387 h 4370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370387">
                <a:moveTo>
                  <a:pt x="0" y="0"/>
                </a:moveTo>
                <a:lnTo>
                  <a:pt x="4368800" y="0"/>
                </a:lnTo>
                <a:lnTo>
                  <a:pt x="4368800" y="4370387"/>
                </a:lnTo>
                <a:lnTo>
                  <a:pt x="2570369" y="4370387"/>
                </a:lnTo>
                <a:lnTo>
                  <a:pt x="2178816" y="3982247"/>
                </a:lnTo>
                <a:lnTo>
                  <a:pt x="1792058" y="4370387"/>
                </a:lnTo>
                <a:lnTo>
                  <a:pt x="0" y="4370387"/>
                </a:lnTo>
                <a:close/>
              </a:path>
            </a:pathLst>
          </a:custGeom>
          <a:solidFill>
            <a:schemeClr val="accent1"/>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3" name="Plassholder for innhold 22">
            <a:extLst>
              <a:ext uri="{FF2B5EF4-FFF2-40B4-BE49-F238E27FC236}">
                <a16:creationId xmlns:a16="http://schemas.microsoft.com/office/drawing/2014/main" id="{B8345A73-70B1-4638-B109-E60DD6292BE4}"/>
              </a:ext>
            </a:extLst>
          </p:cNvPr>
          <p:cNvSpPr>
            <a:spLocks noGrp="1"/>
          </p:cNvSpPr>
          <p:nvPr>
            <p:ph idx="19"/>
          </p:nvPr>
        </p:nvSpPr>
        <p:spPr>
          <a:xfrm>
            <a:off x="9369438" y="3733041"/>
            <a:ext cx="2184684" cy="2374439"/>
          </a:xfrm>
          <a:custGeom>
            <a:avLst/>
            <a:gdLst>
              <a:gd name="connsiteX0" fmla="*/ 2178816 w 4368800"/>
              <a:gd name="connsiteY0" fmla="*/ 0 h 4748328"/>
              <a:gd name="connsiteX1" fmla="*/ 2570369 w 4368800"/>
              <a:gd name="connsiteY1" fmla="*/ 388140 h 4748328"/>
              <a:gd name="connsiteX2" fmla="*/ 4368800 w 4368800"/>
              <a:gd name="connsiteY2" fmla="*/ 388140 h 4748328"/>
              <a:gd name="connsiteX3" fmla="*/ 4368800 w 4368800"/>
              <a:gd name="connsiteY3" fmla="*/ 4748328 h 4748328"/>
              <a:gd name="connsiteX4" fmla="*/ 0 w 4368800"/>
              <a:gd name="connsiteY4" fmla="*/ 4748328 h 4748328"/>
              <a:gd name="connsiteX5" fmla="*/ 0 w 4368800"/>
              <a:gd name="connsiteY5" fmla="*/ 388140 h 4748328"/>
              <a:gd name="connsiteX6" fmla="*/ 1792058 w 4368800"/>
              <a:gd name="connsiteY6" fmla="*/ 388140 h 47483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748328">
                <a:moveTo>
                  <a:pt x="2178816" y="0"/>
                </a:moveTo>
                <a:lnTo>
                  <a:pt x="2570369" y="388140"/>
                </a:lnTo>
                <a:lnTo>
                  <a:pt x="4368800" y="388140"/>
                </a:lnTo>
                <a:lnTo>
                  <a:pt x="4368800" y="4748328"/>
                </a:lnTo>
                <a:lnTo>
                  <a:pt x="0" y="4748328"/>
                </a:lnTo>
                <a:lnTo>
                  <a:pt x="0" y="388140"/>
                </a:lnTo>
                <a:lnTo>
                  <a:pt x="1792058" y="388140"/>
                </a:lnTo>
                <a:close/>
              </a:path>
            </a:pathLst>
          </a:custGeom>
          <a:solidFill>
            <a:schemeClr val="accent2"/>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4" name="Plassholder for innhold 13">
            <a:extLst>
              <a:ext uri="{FF2B5EF4-FFF2-40B4-BE49-F238E27FC236}">
                <a16:creationId xmlns:a16="http://schemas.microsoft.com/office/drawing/2014/main" id="{2DBBD74C-5A1C-435D-8DF7-811296235E2B}"/>
              </a:ext>
            </a:extLst>
          </p:cNvPr>
          <p:cNvSpPr>
            <a:spLocks noGrp="1"/>
          </p:cNvSpPr>
          <p:nvPr>
            <p:ph idx="22"/>
          </p:nvPr>
        </p:nvSpPr>
        <p:spPr>
          <a:xfrm>
            <a:off x="2820768" y="3926958"/>
            <a:ext cx="2184684" cy="2180523"/>
          </a:xfrm>
          <a:custGeom>
            <a:avLst/>
            <a:gdLst>
              <a:gd name="connsiteX0" fmla="*/ 1792410 w 4368800"/>
              <a:gd name="connsiteY0" fmla="*/ 0 h 4360541"/>
              <a:gd name="connsiteX1" fmla="*/ 2178816 w 4368800"/>
              <a:gd name="connsiteY1" fmla="*/ 387787 h 4360541"/>
              <a:gd name="connsiteX2" fmla="*/ 2570013 w 4368800"/>
              <a:gd name="connsiteY2" fmla="*/ 0 h 4360541"/>
              <a:gd name="connsiteX3" fmla="*/ 2570369 w 4368800"/>
              <a:gd name="connsiteY3" fmla="*/ 353 h 4360541"/>
              <a:gd name="connsiteX4" fmla="*/ 4368800 w 4368800"/>
              <a:gd name="connsiteY4" fmla="*/ 353 h 4360541"/>
              <a:gd name="connsiteX5" fmla="*/ 4368800 w 4368800"/>
              <a:gd name="connsiteY5" fmla="*/ 4360541 h 4360541"/>
              <a:gd name="connsiteX6" fmla="*/ 0 w 4368800"/>
              <a:gd name="connsiteY6" fmla="*/ 4360541 h 4360541"/>
              <a:gd name="connsiteX7" fmla="*/ 0 w 4368800"/>
              <a:gd name="connsiteY7" fmla="*/ 353 h 4360541"/>
              <a:gd name="connsiteX8" fmla="*/ 1792058 w 4368800"/>
              <a:gd name="connsiteY8" fmla="*/ 353 h 4360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8800" h="4360541">
                <a:moveTo>
                  <a:pt x="1792410" y="0"/>
                </a:moveTo>
                <a:lnTo>
                  <a:pt x="2178816" y="387787"/>
                </a:lnTo>
                <a:lnTo>
                  <a:pt x="2570013" y="0"/>
                </a:lnTo>
                <a:lnTo>
                  <a:pt x="2570369" y="353"/>
                </a:lnTo>
                <a:lnTo>
                  <a:pt x="4368800" y="353"/>
                </a:lnTo>
                <a:lnTo>
                  <a:pt x="4368800" y="4360541"/>
                </a:lnTo>
                <a:lnTo>
                  <a:pt x="0" y="4360541"/>
                </a:lnTo>
                <a:lnTo>
                  <a:pt x="0" y="353"/>
                </a:lnTo>
                <a:lnTo>
                  <a:pt x="1792058" y="353"/>
                </a:lnTo>
                <a:close/>
              </a:path>
            </a:pathLst>
          </a:custGeom>
          <a:solidFill>
            <a:schemeClr val="accent1"/>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32" name="Plassholder for innhold 31">
            <a:extLst>
              <a:ext uri="{FF2B5EF4-FFF2-40B4-BE49-F238E27FC236}">
                <a16:creationId xmlns:a16="http://schemas.microsoft.com/office/drawing/2014/main" id="{1073CB98-ACC6-4E83-8AF2-DD4F469D67E1}"/>
              </a:ext>
            </a:extLst>
          </p:cNvPr>
          <p:cNvSpPr>
            <a:spLocks noGrp="1"/>
          </p:cNvSpPr>
          <p:nvPr>
            <p:ph sz="quarter" idx="24"/>
          </p:nvPr>
        </p:nvSpPr>
        <p:spPr>
          <a:xfrm>
            <a:off x="7188549" y="1748623"/>
            <a:ext cx="2184684" cy="2374364"/>
          </a:xfrm>
          <a:custGeom>
            <a:avLst/>
            <a:gdLst>
              <a:gd name="connsiteX0" fmla="*/ 0 w 4368800"/>
              <a:gd name="connsiteY0" fmla="*/ 0 h 4748178"/>
              <a:gd name="connsiteX1" fmla="*/ 4368800 w 4368800"/>
              <a:gd name="connsiteY1" fmla="*/ 0 h 4748178"/>
              <a:gd name="connsiteX2" fmla="*/ 4368800 w 4368800"/>
              <a:gd name="connsiteY2" fmla="*/ 4360038 h 4748178"/>
              <a:gd name="connsiteX3" fmla="*/ 2570369 w 4368800"/>
              <a:gd name="connsiteY3" fmla="*/ 4360038 h 4748178"/>
              <a:gd name="connsiteX4" fmla="*/ 2178816 w 4368800"/>
              <a:gd name="connsiteY4" fmla="*/ 4748178 h 4748178"/>
              <a:gd name="connsiteX5" fmla="*/ 1792058 w 4368800"/>
              <a:gd name="connsiteY5" fmla="*/ 4360038 h 4748178"/>
              <a:gd name="connsiteX6" fmla="*/ 0 w 4368800"/>
              <a:gd name="connsiteY6" fmla="*/ 4360038 h 4748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748178">
                <a:moveTo>
                  <a:pt x="0" y="0"/>
                </a:moveTo>
                <a:lnTo>
                  <a:pt x="4368800" y="0"/>
                </a:lnTo>
                <a:lnTo>
                  <a:pt x="4368800" y="4360038"/>
                </a:lnTo>
                <a:lnTo>
                  <a:pt x="2570369" y="4360038"/>
                </a:lnTo>
                <a:lnTo>
                  <a:pt x="2178816" y="4748178"/>
                </a:lnTo>
                <a:lnTo>
                  <a:pt x="1792058" y="4360038"/>
                </a:lnTo>
                <a:lnTo>
                  <a:pt x="0" y="4360038"/>
                </a:lnTo>
                <a:close/>
              </a:path>
            </a:pathLst>
          </a:custGeom>
          <a:solidFill>
            <a:schemeClr val="accent3"/>
          </a:solidFill>
        </p:spPr>
        <p:txBody>
          <a:bodyPr wrap="square"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15" name="Plassholder for innhold 31">
            <a:extLst>
              <a:ext uri="{FF2B5EF4-FFF2-40B4-BE49-F238E27FC236}">
                <a16:creationId xmlns:a16="http://schemas.microsoft.com/office/drawing/2014/main" id="{10B52021-2345-4053-95F8-252BFC365613}"/>
              </a:ext>
            </a:extLst>
          </p:cNvPr>
          <p:cNvSpPr>
            <a:spLocks noGrp="1"/>
          </p:cNvSpPr>
          <p:nvPr>
            <p:ph sz="quarter" idx="25"/>
          </p:nvPr>
        </p:nvSpPr>
        <p:spPr>
          <a:xfrm>
            <a:off x="2820593" y="1748623"/>
            <a:ext cx="2184684" cy="2374364"/>
          </a:xfrm>
          <a:custGeom>
            <a:avLst/>
            <a:gdLst>
              <a:gd name="connsiteX0" fmla="*/ 0 w 4368800"/>
              <a:gd name="connsiteY0" fmla="*/ 0 h 4748178"/>
              <a:gd name="connsiteX1" fmla="*/ 4368800 w 4368800"/>
              <a:gd name="connsiteY1" fmla="*/ 0 h 4748178"/>
              <a:gd name="connsiteX2" fmla="*/ 4368800 w 4368800"/>
              <a:gd name="connsiteY2" fmla="*/ 4360038 h 4748178"/>
              <a:gd name="connsiteX3" fmla="*/ 2570369 w 4368800"/>
              <a:gd name="connsiteY3" fmla="*/ 4360038 h 4748178"/>
              <a:gd name="connsiteX4" fmla="*/ 2178816 w 4368800"/>
              <a:gd name="connsiteY4" fmla="*/ 4748178 h 4748178"/>
              <a:gd name="connsiteX5" fmla="*/ 1792058 w 4368800"/>
              <a:gd name="connsiteY5" fmla="*/ 4360038 h 4748178"/>
              <a:gd name="connsiteX6" fmla="*/ 0 w 4368800"/>
              <a:gd name="connsiteY6" fmla="*/ 4360038 h 4748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68800" h="4748178">
                <a:moveTo>
                  <a:pt x="0" y="0"/>
                </a:moveTo>
                <a:lnTo>
                  <a:pt x="4368800" y="0"/>
                </a:lnTo>
                <a:lnTo>
                  <a:pt x="4368800" y="4360038"/>
                </a:lnTo>
                <a:lnTo>
                  <a:pt x="2570369" y="4360038"/>
                </a:lnTo>
                <a:lnTo>
                  <a:pt x="2178816" y="4748178"/>
                </a:lnTo>
                <a:lnTo>
                  <a:pt x="1792058" y="4360038"/>
                </a:lnTo>
                <a:lnTo>
                  <a:pt x="0" y="4360038"/>
                </a:lnTo>
                <a:close/>
              </a:path>
            </a:pathLst>
          </a:custGeom>
          <a:solidFill>
            <a:schemeClr val="accent3"/>
          </a:solidFill>
        </p:spPr>
        <p:txBody>
          <a:bodyPr wrap="square"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4" name="Plassholder for innhold 23">
            <a:extLst>
              <a:ext uri="{FF2B5EF4-FFF2-40B4-BE49-F238E27FC236}">
                <a16:creationId xmlns:a16="http://schemas.microsoft.com/office/drawing/2014/main" id="{6418F69F-87BC-4A6C-AF60-885086A1FA63}"/>
              </a:ext>
            </a:extLst>
          </p:cNvPr>
          <p:cNvSpPr>
            <a:spLocks noGrp="1"/>
          </p:cNvSpPr>
          <p:nvPr>
            <p:ph idx="26"/>
          </p:nvPr>
        </p:nvSpPr>
        <p:spPr>
          <a:xfrm>
            <a:off x="7186341" y="3926958"/>
            <a:ext cx="2184684" cy="2180523"/>
          </a:xfrm>
          <a:custGeom>
            <a:avLst/>
            <a:gdLst>
              <a:gd name="connsiteX0" fmla="*/ 1792410 w 4368800"/>
              <a:gd name="connsiteY0" fmla="*/ 0 h 4360541"/>
              <a:gd name="connsiteX1" fmla="*/ 2178816 w 4368800"/>
              <a:gd name="connsiteY1" fmla="*/ 387787 h 4360541"/>
              <a:gd name="connsiteX2" fmla="*/ 2570013 w 4368800"/>
              <a:gd name="connsiteY2" fmla="*/ 0 h 4360541"/>
              <a:gd name="connsiteX3" fmla="*/ 2570369 w 4368800"/>
              <a:gd name="connsiteY3" fmla="*/ 353 h 4360541"/>
              <a:gd name="connsiteX4" fmla="*/ 4368800 w 4368800"/>
              <a:gd name="connsiteY4" fmla="*/ 353 h 4360541"/>
              <a:gd name="connsiteX5" fmla="*/ 4368800 w 4368800"/>
              <a:gd name="connsiteY5" fmla="*/ 4360541 h 4360541"/>
              <a:gd name="connsiteX6" fmla="*/ 0 w 4368800"/>
              <a:gd name="connsiteY6" fmla="*/ 4360541 h 4360541"/>
              <a:gd name="connsiteX7" fmla="*/ 0 w 4368800"/>
              <a:gd name="connsiteY7" fmla="*/ 353 h 4360541"/>
              <a:gd name="connsiteX8" fmla="*/ 1792058 w 4368800"/>
              <a:gd name="connsiteY8" fmla="*/ 353 h 4360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8800" h="4360541">
                <a:moveTo>
                  <a:pt x="1792410" y="0"/>
                </a:moveTo>
                <a:lnTo>
                  <a:pt x="2178816" y="387787"/>
                </a:lnTo>
                <a:lnTo>
                  <a:pt x="2570013" y="0"/>
                </a:lnTo>
                <a:lnTo>
                  <a:pt x="2570369" y="353"/>
                </a:lnTo>
                <a:lnTo>
                  <a:pt x="4368800" y="353"/>
                </a:lnTo>
                <a:lnTo>
                  <a:pt x="4368800" y="4360541"/>
                </a:lnTo>
                <a:lnTo>
                  <a:pt x="0" y="4360541"/>
                </a:lnTo>
                <a:lnTo>
                  <a:pt x="0" y="353"/>
                </a:lnTo>
                <a:lnTo>
                  <a:pt x="1792058" y="353"/>
                </a:lnTo>
                <a:close/>
              </a:path>
            </a:pathLst>
          </a:custGeom>
          <a:solidFill>
            <a:schemeClr val="accent1"/>
          </a:solidFill>
        </p:spPr>
        <p:txBody>
          <a:bodyPr wrap="square" lIns="91440" tIns="45720" rIns="91440" bIns="45720" anchor="ctr" anchorCtr="0">
            <a:noAutofit/>
          </a:bodyPr>
          <a:lstStyle>
            <a:lvl1pPr marL="0" indent="0" algn="ctr">
              <a:buNone/>
              <a:defRPr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Tree>
    <p:extLst>
      <p:ext uri="{BB962C8B-B14F-4D97-AF65-F5344CB8AC3E}">
        <p14:creationId xmlns:p14="http://schemas.microsoft.com/office/powerpoint/2010/main" val="344899455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Quotation box">
    <p:bg>
      <p:bgPr>
        <a:solidFill>
          <a:schemeClr val="bg1"/>
        </a:solidFill>
        <a:effectLst/>
      </p:bgPr>
    </p:bg>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7EDED87E-8709-4F37-9B3C-5D45379E4465}"/>
              </a:ext>
            </a:extLst>
          </p:cNvPr>
          <p:cNvSpPr>
            <a:spLocks noGrp="1"/>
          </p:cNvSpPr>
          <p:nvPr>
            <p:ph type="pic" sz="quarter" idx="10" hasCustomPrompt="1"/>
          </p:nvPr>
        </p:nvSpPr>
        <p:spPr>
          <a:xfrm>
            <a:off x="1" y="0"/>
            <a:ext cx="12192000" cy="6858000"/>
          </a:xfrm>
          <a:solidFill>
            <a:schemeClr val="bg1">
              <a:lumMod val="85000"/>
            </a:schemeClr>
          </a:solidFill>
        </p:spPr>
        <p:txBody>
          <a:bodyPr/>
          <a:lstStyle>
            <a:lvl1pPr marL="0" indent="0" algn="ctr">
              <a:buNone/>
              <a:defRPr/>
            </a:lvl1pPr>
          </a:lstStyle>
          <a:p>
            <a:r>
              <a:rPr lang="en-GB" dirty="0"/>
              <a:t>Choose “Picture” under the “Insert”-tab to change background</a:t>
            </a:r>
          </a:p>
        </p:txBody>
      </p:sp>
      <p:sp>
        <p:nvSpPr>
          <p:cNvPr id="5" name="Plassholder for tekst 4">
            <a:extLst>
              <a:ext uri="{FF2B5EF4-FFF2-40B4-BE49-F238E27FC236}">
                <a16:creationId xmlns:a16="http://schemas.microsoft.com/office/drawing/2014/main" id="{3FDB0779-4B25-4AB2-8870-B58DE5CDAD48}"/>
              </a:ext>
            </a:extLst>
          </p:cNvPr>
          <p:cNvSpPr>
            <a:spLocks noGrp="1"/>
          </p:cNvSpPr>
          <p:nvPr>
            <p:ph type="body" sz="quarter" idx="11"/>
          </p:nvPr>
        </p:nvSpPr>
        <p:spPr>
          <a:xfrm>
            <a:off x="2569386" y="2117981"/>
            <a:ext cx="7053228" cy="2634277"/>
          </a:xfrm>
          <a:solidFill>
            <a:schemeClr val="accent2"/>
          </a:solidFill>
        </p:spPr>
        <p:txBody>
          <a:bodyPr lIns="1224000" tIns="1152000" rIns="1224000" bIns="1152000" anchor="ctr" anchorCtr="0">
            <a:spAutoFit/>
          </a:bodyPr>
          <a:lstStyle>
            <a:lvl1pPr marL="0" indent="0" algn="ctr">
              <a:buNone/>
              <a:defRPr sz="2000" b="1" i="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Tree>
    <p:extLst>
      <p:ext uri="{BB962C8B-B14F-4D97-AF65-F5344CB8AC3E}">
        <p14:creationId xmlns:p14="http://schemas.microsoft.com/office/powerpoint/2010/main" val="20637937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outation">
    <p:bg>
      <p:bgPr>
        <a:solidFill>
          <a:schemeClr val="bg1"/>
        </a:solidFill>
        <a:effectLst/>
      </p:bgPr>
    </p:bg>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7EDED87E-8709-4F37-9B3C-5D45379E4465}"/>
              </a:ext>
            </a:extLst>
          </p:cNvPr>
          <p:cNvSpPr>
            <a:spLocks noGrp="1"/>
          </p:cNvSpPr>
          <p:nvPr>
            <p:ph type="pic" sz="quarter" idx="10" hasCustomPrompt="1"/>
          </p:nvPr>
        </p:nvSpPr>
        <p:spPr>
          <a:xfrm>
            <a:off x="1" y="747589"/>
            <a:ext cx="12192000" cy="5362821"/>
          </a:xfrm>
          <a:solidFill>
            <a:schemeClr val="bg1">
              <a:lumMod val="85000"/>
            </a:schemeClr>
          </a:solidFill>
        </p:spPr>
        <p:txBody>
          <a:bodyPr/>
          <a:lstStyle>
            <a:lvl1pPr marL="0" indent="0" algn="ctr">
              <a:buNone/>
              <a:defRPr/>
            </a:lvl1pPr>
          </a:lstStyle>
          <a:p>
            <a:r>
              <a:rPr lang="en-GB" dirty="0"/>
              <a:t>Choose “Picture” under the “Insert”-tab to change background</a:t>
            </a:r>
          </a:p>
        </p:txBody>
      </p:sp>
      <p:sp>
        <p:nvSpPr>
          <p:cNvPr id="5" name="Plassholder for tekst 4">
            <a:extLst>
              <a:ext uri="{FF2B5EF4-FFF2-40B4-BE49-F238E27FC236}">
                <a16:creationId xmlns:a16="http://schemas.microsoft.com/office/drawing/2014/main" id="{3FDB0779-4B25-4AB2-8870-B58DE5CDAD48}"/>
              </a:ext>
            </a:extLst>
          </p:cNvPr>
          <p:cNvSpPr>
            <a:spLocks noGrp="1"/>
          </p:cNvSpPr>
          <p:nvPr>
            <p:ph type="body" sz="quarter" idx="11"/>
          </p:nvPr>
        </p:nvSpPr>
        <p:spPr>
          <a:xfrm>
            <a:off x="2569386" y="2117981"/>
            <a:ext cx="7053228" cy="2634277"/>
          </a:xfrm>
          <a:noFill/>
        </p:spPr>
        <p:txBody>
          <a:bodyPr lIns="1224000" tIns="1152000" rIns="1224000" bIns="1152000" anchor="ctr" anchorCtr="0">
            <a:spAutoFit/>
          </a:bodyPr>
          <a:lstStyle>
            <a:lvl1pPr marL="0" indent="0" algn="ctr">
              <a:buNone/>
              <a:defRPr sz="2000" b="1" i="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4" name="Slide Number Placeholder 3">
            <a:extLst>
              <a:ext uri="{FF2B5EF4-FFF2-40B4-BE49-F238E27FC236}">
                <a16:creationId xmlns:a16="http://schemas.microsoft.com/office/drawing/2014/main" id="{0E08B8F9-77EB-4212-811B-96E38D909679}"/>
              </a:ext>
            </a:extLst>
          </p:cNvPr>
          <p:cNvSpPr>
            <a:spLocks noGrp="1"/>
          </p:cNvSpPr>
          <p:nvPr>
            <p:ph type="sldNum" sz="quarter" idx="13"/>
          </p:nvPr>
        </p:nvSpPr>
        <p:spPr/>
        <p:txBody>
          <a:bodyPr/>
          <a:lstStyle/>
          <a:p>
            <a:fld id="{7A3F00B2-786C-401B-9EB3-42A9D0DD4A9F}" type="slidenum">
              <a:rPr lang="nb-NO" smtClean="0"/>
              <a:pPr/>
              <a:t>‹#›</a:t>
            </a:fld>
            <a:endParaRPr lang="nb-NO"/>
          </a:p>
        </p:txBody>
      </p:sp>
    </p:spTree>
    <p:extLst>
      <p:ext uri="{BB962C8B-B14F-4D97-AF65-F5344CB8AC3E}">
        <p14:creationId xmlns:p14="http://schemas.microsoft.com/office/powerpoint/2010/main" val="56908519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sp>
        <p:nvSpPr>
          <p:cNvPr id="7" name="Plassholder for lysbildenummer 6">
            <a:extLst>
              <a:ext uri="{FF2B5EF4-FFF2-40B4-BE49-F238E27FC236}">
                <a16:creationId xmlns:a16="http://schemas.microsoft.com/office/drawing/2014/main" id="{28AB1E98-794A-4861-9B4D-7C154BFB44D6}"/>
              </a:ext>
            </a:extLst>
          </p:cNvPr>
          <p:cNvSpPr>
            <a:spLocks noGrp="1"/>
          </p:cNvSpPr>
          <p:nvPr>
            <p:ph type="sldNum" sz="quarter" idx="11"/>
          </p:nvPr>
        </p:nvSpPr>
        <p:spPr/>
        <p:txBody>
          <a:bodyPr/>
          <a:lstStyle/>
          <a:p>
            <a:fld id="{7A3F00B2-786C-401B-9EB3-42A9D0DD4A9F}" type="slidenum">
              <a:rPr lang="nb-NO" smtClean="0"/>
              <a:pPr/>
              <a:t>‹#›</a:t>
            </a:fld>
            <a:endParaRPr lang="nb-NO"/>
          </a:p>
        </p:txBody>
      </p:sp>
      <p:sp>
        <p:nvSpPr>
          <p:cNvPr id="4" name="Title 1">
            <a:extLst>
              <a:ext uri="{FF2B5EF4-FFF2-40B4-BE49-F238E27FC236}">
                <a16:creationId xmlns:a16="http://schemas.microsoft.com/office/drawing/2014/main" id="{67071FD9-EB3C-4782-B84E-D04F089770BB}"/>
              </a:ext>
            </a:extLst>
          </p:cNvPr>
          <p:cNvSpPr>
            <a:spLocks noGrp="1"/>
          </p:cNvSpPr>
          <p:nvPr>
            <p:ph type="title"/>
          </p:nvPr>
        </p:nvSpPr>
        <p:spPr>
          <a:xfrm>
            <a:off x="2034805" y="691698"/>
            <a:ext cx="8106895" cy="507960"/>
          </a:xfrm>
        </p:spPr>
        <p:txBody>
          <a:bodyPr/>
          <a:lstStyle>
            <a:lvl1pPr>
              <a:defRPr>
                <a:solidFill>
                  <a:schemeClr val="accent1"/>
                </a:solidFill>
              </a:defRPr>
            </a:lvl1pPr>
          </a:lstStyle>
          <a:p>
            <a:r>
              <a:rPr lang="en-US"/>
              <a:t>Click to edit Master title style</a:t>
            </a:r>
          </a:p>
        </p:txBody>
      </p:sp>
      <p:sp>
        <p:nvSpPr>
          <p:cNvPr id="5" name="Plassholder for tekst 10">
            <a:extLst>
              <a:ext uri="{FF2B5EF4-FFF2-40B4-BE49-F238E27FC236}">
                <a16:creationId xmlns:a16="http://schemas.microsoft.com/office/drawing/2014/main" id="{6A0D7FD0-37A3-481D-A59F-D493332D6B16}"/>
              </a:ext>
            </a:extLst>
          </p:cNvPr>
          <p:cNvSpPr>
            <a:spLocks noGrp="1"/>
          </p:cNvSpPr>
          <p:nvPr>
            <p:ph type="body" sz="quarter" idx="16"/>
          </p:nvPr>
        </p:nvSpPr>
        <p:spPr>
          <a:xfrm>
            <a:off x="2034805" y="1140353"/>
            <a:ext cx="8106895" cy="319919"/>
          </a:xfrm>
        </p:spPr>
        <p:txBody>
          <a:bodyPr>
            <a:noAutofit/>
          </a:bodyPr>
          <a:lstStyle>
            <a:lvl1pPr marL="0" indent="0" algn="ctr">
              <a:buNone/>
              <a:defRPr sz="2000">
                <a:solidFill>
                  <a:schemeClr val="accent1"/>
                </a:solidFill>
              </a:defRPr>
            </a:lvl1pPr>
          </a:lstStyle>
          <a:p>
            <a:pPr lvl="0"/>
            <a:r>
              <a:rPr lang="en-US"/>
              <a:t>Edit Master text styles</a:t>
            </a:r>
          </a:p>
        </p:txBody>
      </p:sp>
    </p:spTree>
    <p:extLst>
      <p:ext uri="{BB962C8B-B14F-4D97-AF65-F5344CB8AC3E}">
        <p14:creationId xmlns:p14="http://schemas.microsoft.com/office/powerpoint/2010/main" val="29239498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6" name="Plassholder for lysbildenummer 5">
            <a:extLst>
              <a:ext uri="{FF2B5EF4-FFF2-40B4-BE49-F238E27FC236}">
                <a16:creationId xmlns:a16="http://schemas.microsoft.com/office/drawing/2014/main" id="{67ADC1B9-AA43-42BA-9CD7-853B07C4E4CC}"/>
              </a:ext>
            </a:extLst>
          </p:cNvPr>
          <p:cNvSpPr>
            <a:spLocks noGrp="1"/>
          </p:cNvSpPr>
          <p:nvPr>
            <p:ph type="sldNum" sz="quarter" idx="11"/>
          </p:nvPr>
        </p:nvSpPr>
        <p:spPr/>
        <p:txBody>
          <a:bodyPr/>
          <a:lstStyle/>
          <a:p>
            <a:fld id="{7A3F00B2-786C-401B-9EB3-42A9D0DD4A9F}" type="slidenum">
              <a:rPr lang="nb-NO" smtClean="0"/>
              <a:pPr/>
              <a:t>‹#›</a:t>
            </a:fld>
            <a:endParaRPr lang="nb-NO"/>
          </a:p>
        </p:txBody>
      </p:sp>
    </p:spTree>
    <p:extLst>
      <p:ext uri="{BB962C8B-B14F-4D97-AF65-F5344CB8AC3E}">
        <p14:creationId xmlns:p14="http://schemas.microsoft.com/office/powerpoint/2010/main" val="36481694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4" name="Rectangle 2"/>
          <p:cNvSpPr>
            <a:spLocks noGrp="1" noChangeArrowheads="1"/>
          </p:cNvSpPr>
          <p:nvPr>
            <p:ph type="title"/>
          </p:nvPr>
        </p:nvSpPr>
        <p:spPr bwMode="auto">
          <a:xfrm>
            <a:off x="508000" y="712800"/>
            <a:ext cx="11171238" cy="752475"/>
          </a:xfrm>
          <a:prstGeom prst="rect">
            <a:avLst/>
          </a:prstGeom>
          <a:noFill/>
          <a:ln w="9525" algn="ctr">
            <a:noFill/>
            <a:miter lim="800000"/>
            <a:headEnd/>
            <a:tailEnd/>
          </a:ln>
        </p:spPr>
        <p:txBody>
          <a:bodyPr vert="horz" wrap="square" lIns="0" tIns="0" rIns="0" bIns="0" numCol="1" anchor="t" anchorCtr="0" compatLnSpc="1">
            <a:prstTxWarp prst="textNoShape">
              <a:avLst/>
            </a:prstTxWarp>
          </a:bodyPr>
          <a:lstStyle>
            <a:lvl1pPr>
              <a:defRPr cap="none" baseline="0">
                <a:solidFill>
                  <a:schemeClr val="tx1"/>
                </a:solidFill>
              </a:defRPr>
            </a:lvl1pPr>
          </a:lstStyle>
          <a:p>
            <a:pPr lvl="0"/>
            <a:r>
              <a:rPr lang="en-GB" noProof="0"/>
              <a:t>Click to edit Master title style</a:t>
            </a:r>
          </a:p>
        </p:txBody>
      </p:sp>
      <p:sp>
        <p:nvSpPr>
          <p:cNvPr id="10" name="Content Placeholder 9"/>
          <p:cNvSpPr>
            <a:spLocks noGrp="1"/>
          </p:cNvSpPr>
          <p:nvPr>
            <p:ph sz="quarter" idx="11"/>
          </p:nvPr>
        </p:nvSpPr>
        <p:spPr>
          <a:xfrm>
            <a:off x="508000" y="1528763"/>
            <a:ext cx="11171238" cy="4830761"/>
          </a:xfrm>
        </p:spPr>
        <p:txBody>
          <a:bodyPr/>
          <a:lstStyle>
            <a:lvl1pPr marL="0" indent="0" defTabSz="357708">
              <a:lnSpc>
                <a:spcPct val="140000"/>
              </a:lnSpc>
              <a:spcBef>
                <a:spcPts val="0"/>
              </a:spcBef>
              <a:defRPr sz="1800"/>
            </a:lvl1pPr>
            <a:lvl2pPr marL="230400" indent="-230400" defTabSz="357708">
              <a:lnSpc>
                <a:spcPct val="140000"/>
              </a:lnSpc>
              <a:spcBef>
                <a:spcPts val="0"/>
              </a:spcBef>
              <a:defRPr sz="1800"/>
            </a:lvl2pPr>
            <a:lvl3pPr marL="403200" indent="-201600" defTabSz="357708">
              <a:lnSpc>
                <a:spcPct val="140000"/>
              </a:lnSpc>
              <a:spcBef>
                <a:spcPts val="0"/>
              </a:spcBef>
              <a:buClr>
                <a:schemeClr val="tx1"/>
              </a:buClr>
              <a:buSzPct val="75000"/>
              <a:buFont typeface="Wingdings" pitchFamily="2" charset="2"/>
              <a:buChar char=""/>
              <a:defRPr sz="1800"/>
            </a:lvl3pPr>
            <a:lvl4pPr marL="633600" indent="-230400" defTabSz="357708">
              <a:lnSpc>
                <a:spcPct val="140000"/>
              </a:lnSpc>
              <a:spcBef>
                <a:spcPts val="0"/>
              </a:spcBef>
              <a:buClr>
                <a:schemeClr val="tx1"/>
              </a:buClr>
              <a:buSzPct val="75000"/>
              <a:buFont typeface="Wingdings" pitchFamily="2" charset="2"/>
              <a:buChar char=""/>
              <a:defRPr sz="1800"/>
            </a:lvl4pPr>
            <a:lvl5pPr marL="835200" indent="-201600" defTabSz="357708">
              <a:lnSpc>
                <a:spcPct val="140000"/>
              </a:lnSpc>
              <a:spcBef>
                <a:spcPts val="0"/>
              </a:spcBef>
              <a:buClr>
                <a:schemeClr val="tx1"/>
              </a:buClr>
              <a:buSzPct val="75000"/>
              <a:buFont typeface="Wingdings" pitchFamily="2" charset="2"/>
              <a:buChar char=""/>
              <a:defRPr sz="1600"/>
            </a:lvl5pPr>
            <a:lvl6pPr marL="986400" indent="-151200" defTabSz="357708">
              <a:lnSpc>
                <a:spcPct val="140000"/>
              </a:lnSpc>
              <a:buClr>
                <a:schemeClr val="tx1"/>
              </a:buClr>
              <a:buSzPct val="75000"/>
              <a:buFont typeface="Wingdings" pitchFamily="2" charset="2"/>
              <a:buChar char=""/>
              <a:defRPr sz="1200"/>
            </a:lvl6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a:p>
            <a:pPr lvl="5"/>
            <a:r>
              <a:rPr lang="en-GB"/>
              <a:t>Sixth level</a:t>
            </a:r>
          </a:p>
        </p:txBody>
      </p:sp>
      <p:sp>
        <p:nvSpPr>
          <p:cNvPr id="15" name="Rectangle 4" descr="Rectangle 4"/>
          <p:cNvSpPr>
            <a:spLocks noGrp="1" noChangeArrowheads="1"/>
          </p:cNvSpPr>
          <p:nvPr>
            <p:ph type="dt" sz="half" idx="2"/>
          </p:nvPr>
        </p:nvSpPr>
        <p:spPr bwMode="auto">
          <a:xfrm>
            <a:off x="9670343" y="6469200"/>
            <a:ext cx="1440000"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marL="0" algn="ctr" defTabSz="1219170" rtl="0" eaLnBrk="1" latinLnBrk="0" hangingPunct="1">
              <a:defRPr lang="en-US" sz="850" kern="1200" smtClean="0">
                <a:solidFill>
                  <a:schemeClr val="tx1"/>
                </a:solidFill>
                <a:latin typeface="+mn-lt"/>
                <a:ea typeface="+mn-ea"/>
                <a:cs typeface="Arial" pitchFamily="34" charset="0"/>
              </a:defRPr>
            </a:lvl1pPr>
          </a:lstStyle>
          <a:p>
            <a:pPr>
              <a:defRPr/>
            </a:pPr>
            <a:r>
              <a:rPr lang="en-GB" dirty="0"/>
              <a:t>Date Month 2016</a:t>
            </a:r>
          </a:p>
        </p:txBody>
      </p:sp>
      <p:sp>
        <p:nvSpPr>
          <p:cNvPr id="13" name="Rectangle 6" descr="Rectangle 6"/>
          <p:cNvSpPr>
            <a:spLocks noGrp="1" noChangeArrowheads="1"/>
          </p:cNvSpPr>
          <p:nvPr>
            <p:ph type="sldNum" sz="quarter" idx="4"/>
          </p:nvPr>
        </p:nvSpPr>
        <p:spPr bwMode="auto">
          <a:xfrm>
            <a:off x="11324177" y="6469199"/>
            <a:ext cx="355564" cy="237600"/>
          </a:xfrm>
          <a:prstGeom prst="rect">
            <a:avLst/>
          </a:prstGeom>
          <a:noFill/>
          <a:ln w="9525">
            <a:noFill/>
            <a:miter lim="800000"/>
            <a:headEnd/>
            <a:tailEnd/>
          </a:ln>
          <a:effectLst/>
        </p:spPr>
        <p:txBody>
          <a:bodyPr vert="horz" wrap="none" lIns="0" tIns="0" rIns="0" bIns="45720" numCol="1" anchor="t" anchorCtr="0" compatLnSpc="1">
            <a:prstTxWarp prst="textNoShape">
              <a:avLst/>
            </a:prstTxWarp>
          </a:bodyPr>
          <a:lstStyle>
            <a:lvl1pPr algn="r">
              <a:defRPr sz="850">
                <a:solidFill>
                  <a:schemeClr val="tx1"/>
                </a:solidFill>
                <a:latin typeface="+mn-lt"/>
                <a:cs typeface="Arial" pitchFamily="34" charset="0"/>
              </a:defRPr>
            </a:lvl1pPr>
          </a:lstStyle>
          <a:p>
            <a:fld id="{D32BAE6A-B452-4007-8177-56DD051636F9}" type="slidenum">
              <a:rPr lang="en-GB" smtClean="0"/>
              <a:pPr/>
              <a:t>‹#›</a:t>
            </a:fld>
            <a:endParaRPr lang="en-GB" dirty="0"/>
          </a:p>
        </p:txBody>
      </p:sp>
      <p:sp>
        <p:nvSpPr>
          <p:cNvPr id="8" name="Rectangle 5"/>
          <p:cNvSpPr>
            <a:spLocks noGrp="1" noChangeArrowheads="1"/>
          </p:cNvSpPr>
          <p:nvPr>
            <p:ph type="ftr" sz="quarter" idx="3"/>
          </p:nvPr>
        </p:nvSpPr>
        <p:spPr bwMode="auto">
          <a:xfrm>
            <a:off x="3877056" y="6469199"/>
            <a:ext cx="4435312" cy="237600"/>
          </a:xfrm>
          <a:prstGeom prst="rect">
            <a:avLst/>
          </a:prstGeom>
          <a:noFill/>
          <a:ln w="9525">
            <a:noFill/>
            <a:miter lim="800000"/>
            <a:headEnd/>
            <a:tailEnd/>
          </a:ln>
          <a:effectLst/>
        </p:spPr>
        <p:txBody>
          <a:bodyPr vert="horz" wrap="square" lIns="0" tIns="0" rIns="0" bIns="45720" numCol="1" anchor="t" anchorCtr="0" compatLnSpc="1">
            <a:prstTxWarp prst="textNoShape">
              <a:avLst/>
            </a:prstTxWarp>
          </a:bodyPr>
          <a:lstStyle>
            <a:lvl1pPr>
              <a:defRPr sz="850">
                <a:solidFill>
                  <a:schemeClr val="tx1"/>
                </a:solidFill>
                <a:latin typeface="+mn-lt"/>
                <a:cs typeface="Arial" pitchFamily="34" charset="0"/>
              </a:defRPr>
            </a:lvl1pPr>
          </a:lstStyle>
          <a:p>
            <a:pPr>
              <a:defRPr/>
            </a:pPr>
            <a:r>
              <a:rPr lang="en-GB" dirty="0"/>
              <a:t>Footer </a:t>
            </a:r>
          </a:p>
        </p:txBody>
      </p:sp>
      <p:sp>
        <p:nvSpPr>
          <p:cNvPr id="7" name="TextBox 6" descr="CONFIDENTIAL_TAG_0xFFEE">
            <a:extLst>
              <a:ext uri="{FF2B5EF4-FFF2-40B4-BE49-F238E27FC236}">
                <a16:creationId xmlns:a16="http://schemas.microsoft.com/office/drawing/2014/main" id="{26E7F4B9-AA7B-4D1C-B278-ECCEDC5D04B1}"/>
              </a:ext>
            </a:extLst>
          </p:cNvPr>
          <p:cNvSpPr txBox="1"/>
          <p:nvPr userDrawn="1"/>
        </p:nvSpPr>
        <p:spPr>
          <a:xfrm>
            <a:off x="8457822" y="6481427"/>
            <a:ext cx="1079500" cy="169277"/>
          </a:xfrm>
          <a:prstGeom prst="rect">
            <a:avLst/>
          </a:prstGeom>
          <a:noFill/>
          <a:ln>
            <a:noFill/>
          </a:ln>
          <a:effectLst>
            <a:glow>
              <a:srgbClr val="000000"/>
            </a:glow>
          </a:effectLst>
        </p:spPr>
        <p:txBody>
          <a:bodyPr vert="horz" wrap="square" lIns="0" tIns="0" rIns="0" bIns="4572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accent2"/>
                </a:solidFill>
                <a:effectLst/>
                <a:uLnTx/>
                <a:uFillTx/>
                <a:latin typeface="ShellMedium" panose="00000600000000000000" pitchFamily="50" charset="0"/>
                <a:ea typeface="+mn-ea"/>
                <a:cs typeface="+mn-cs"/>
              </a:rPr>
              <a:t>RESTRICTED</a:t>
            </a:r>
          </a:p>
        </p:txBody>
      </p:sp>
    </p:spTree>
    <p:extLst>
      <p:ext uri="{BB962C8B-B14F-4D97-AF65-F5344CB8AC3E}">
        <p14:creationId xmlns:p14="http://schemas.microsoft.com/office/powerpoint/2010/main" val="1375505668"/>
      </p:ext>
    </p:extLst>
  </p:cSld>
  <p:clrMapOvr>
    <a:masterClrMapping/>
  </p:clrMapOvr>
  <p:transition/>
  <p:extLst>
    <p:ext uri="{DCECCB84-F9BA-43D5-87BE-67443E8EF086}">
      <p15:sldGuideLst xmlns:p15="http://schemas.microsoft.com/office/powerpoint/2012/main">
        <p15:guide id="1" orient="horz" pos="2160">
          <p15:clr>
            <a:srgbClr val="FBAE40"/>
          </p15:clr>
        </p15:guide>
        <p15:guide id="2" orient="horz" pos="813">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Special slice five contentboxes">
    <p:spTree>
      <p:nvGrpSpPr>
        <p:cNvPr id="1" name=""/>
        <p:cNvGrpSpPr/>
        <p:nvPr/>
      </p:nvGrpSpPr>
      <p:grpSpPr>
        <a:xfrm>
          <a:off x="0" y="0"/>
          <a:ext cx="0" cy="0"/>
          <a:chOff x="0" y="0"/>
          <a:chExt cx="0" cy="0"/>
        </a:xfrm>
      </p:grpSpPr>
      <p:sp>
        <p:nvSpPr>
          <p:cNvPr id="10" name="Plassholder for lysbildenummer 9">
            <a:extLst>
              <a:ext uri="{FF2B5EF4-FFF2-40B4-BE49-F238E27FC236}">
                <a16:creationId xmlns:a16="http://schemas.microsoft.com/office/drawing/2014/main" id="{6668AB2F-2D94-47A2-ACD6-657ECAF3A5C7}"/>
              </a:ext>
            </a:extLst>
          </p:cNvPr>
          <p:cNvSpPr>
            <a:spLocks noGrp="1"/>
          </p:cNvSpPr>
          <p:nvPr>
            <p:ph type="sldNum" sz="quarter" idx="18"/>
          </p:nvPr>
        </p:nvSpPr>
        <p:spPr/>
        <p:txBody>
          <a:bodyPr/>
          <a:lstStyle/>
          <a:p>
            <a:fld id="{7A3F00B2-786C-401B-9EB3-42A9D0DD4A9F}" type="slidenum">
              <a:rPr lang="nb-NO" smtClean="0"/>
              <a:pPr/>
              <a:t>‹#›</a:t>
            </a:fld>
            <a:endParaRPr lang="nb-NO"/>
          </a:p>
        </p:txBody>
      </p:sp>
      <p:sp>
        <p:nvSpPr>
          <p:cNvPr id="6" name="Title 1">
            <a:extLst>
              <a:ext uri="{FF2B5EF4-FFF2-40B4-BE49-F238E27FC236}">
                <a16:creationId xmlns:a16="http://schemas.microsoft.com/office/drawing/2014/main" id="{7FD037DF-BB23-4BCF-A3DF-DA4CFB60EF9D}"/>
              </a:ext>
            </a:extLst>
          </p:cNvPr>
          <p:cNvSpPr>
            <a:spLocks noGrp="1"/>
          </p:cNvSpPr>
          <p:nvPr>
            <p:ph type="title"/>
          </p:nvPr>
        </p:nvSpPr>
        <p:spPr>
          <a:xfrm>
            <a:off x="640163" y="3044764"/>
            <a:ext cx="2233587" cy="507960"/>
          </a:xfrm>
        </p:spPr>
        <p:txBody>
          <a:bodyPr anchor="b" anchorCtr="0"/>
          <a:lstStyle>
            <a:lvl1pPr algn="l">
              <a:defRPr>
                <a:solidFill>
                  <a:srgbClr val="021838"/>
                </a:solidFill>
              </a:defRPr>
            </a:lvl1pPr>
          </a:lstStyle>
          <a:p>
            <a:r>
              <a:rPr lang="en-US" noProof="0"/>
              <a:t>Click to edit Master title style</a:t>
            </a:r>
            <a:endParaRPr lang="en-GB" noProof="0"/>
          </a:p>
        </p:txBody>
      </p:sp>
      <p:sp>
        <p:nvSpPr>
          <p:cNvPr id="7" name="Plassholder for tekst 10">
            <a:extLst>
              <a:ext uri="{FF2B5EF4-FFF2-40B4-BE49-F238E27FC236}">
                <a16:creationId xmlns:a16="http://schemas.microsoft.com/office/drawing/2014/main" id="{AD925256-C858-416B-858B-992ECCFC0981}"/>
              </a:ext>
            </a:extLst>
          </p:cNvPr>
          <p:cNvSpPr>
            <a:spLocks noGrp="1"/>
          </p:cNvSpPr>
          <p:nvPr>
            <p:ph type="body" sz="quarter" idx="16"/>
          </p:nvPr>
        </p:nvSpPr>
        <p:spPr>
          <a:xfrm>
            <a:off x="640163" y="3622220"/>
            <a:ext cx="2233587" cy="319919"/>
          </a:xfrm>
        </p:spPr>
        <p:txBody>
          <a:bodyPr>
            <a:noAutofit/>
          </a:bodyPr>
          <a:lstStyle>
            <a:lvl1pPr marL="0" indent="0" algn="l">
              <a:buNone/>
              <a:defRPr sz="2000">
                <a:solidFill>
                  <a:srgbClr val="001639"/>
                </a:solidFill>
              </a:defRPr>
            </a:lvl1pPr>
          </a:lstStyle>
          <a:p>
            <a:pPr lvl="0"/>
            <a:r>
              <a:rPr lang="en-US"/>
              <a:t>Edit Master text styles</a:t>
            </a:r>
          </a:p>
        </p:txBody>
      </p:sp>
      <p:sp>
        <p:nvSpPr>
          <p:cNvPr id="8" name="Content Placeholder 2">
            <a:extLst>
              <a:ext uri="{FF2B5EF4-FFF2-40B4-BE49-F238E27FC236}">
                <a16:creationId xmlns:a16="http://schemas.microsoft.com/office/drawing/2014/main" id="{03AEAD4E-1EC8-4C57-BA76-85BA349C4319}"/>
              </a:ext>
            </a:extLst>
          </p:cNvPr>
          <p:cNvSpPr>
            <a:spLocks noGrp="1"/>
          </p:cNvSpPr>
          <p:nvPr>
            <p:ph sz="half" idx="20"/>
          </p:nvPr>
        </p:nvSpPr>
        <p:spPr>
          <a:xfrm>
            <a:off x="8978482" y="750181"/>
            <a:ext cx="2573356" cy="2576412"/>
          </a:xfrm>
          <a:solidFill>
            <a:srgbClr val="54C6D7"/>
          </a:solidFill>
        </p:spPr>
        <p:txBody>
          <a:bodyPr lIns="144000" tIns="90000" rIns="144000" bIns="90000" anchor="t" anchorCtr="0"/>
          <a:lstStyle>
            <a:lvl1pPr algn="r">
              <a:defRPr sz="2000" b="1"/>
            </a:lvl1pPr>
            <a:lvl2pPr algn="r">
              <a:defRPr/>
            </a:lvl2pPr>
            <a:lvl3pPr algn="r">
              <a:defRPr/>
            </a:lvl3pPr>
            <a:lvl4pPr algn="r">
              <a:defRPr/>
            </a:lvl4pPr>
            <a:lvl5pPr algn="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2">
            <a:extLst>
              <a:ext uri="{FF2B5EF4-FFF2-40B4-BE49-F238E27FC236}">
                <a16:creationId xmlns:a16="http://schemas.microsoft.com/office/drawing/2014/main" id="{CBBED92E-36C7-4AC1-B14C-41D2B90B0DC0}"/>
              </a:ext>
            </a:extLst>
          </p:cNvPr>
          <p:cNvSpPr>
            <a:spLocks noGrp="1"/>
          </p:cNvSpPr>
          <p:nvPr>
            <p:ph sz="half" idx="21"/>
          </p:nvPr>
        </p:nvSpPr>
        <p:spPr>
          <a:xfrm>
            <a:off x="8978482" y="3536566"/>
            <a:ext cx="2573356" cy="2576412"/>
          </a:xfrm>
          <a:solidFill>
            <a:srgbClr val="54C6D7"/>
          </a:solidFill>
        </p:spPr>
        <p:txBody>
          <a:bodyPr lIns="144000" tIns="90000" rIns="144000" bIns="90000" anchor="b" anchorCtr="0"/>
          <a:lstStyle>
            <a:lvl1pPr algn="r">
              <a:defRPr sz="2000" b="1"/>
            </a:lvl1pPr>
            <a:lvl2pPr algn="r">
              <a:defRPr/>
            </a:lvl2pPr>
            <a:lvl3pPr algn="r">
              <a:defRPr/>
            </a:lvl3pPr>
            <a:lvl4pPr algn="r">
              <a:defRPr/>
            </a:lvl4pPr>
            <a:lvl5pPr algn="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42A3A9CD-0E85-4C4F-90A1-4B5BD923B4BF}"/>
              </a:ext>
            </a:extLst>
          </p:cNvPr>
          <p:cNvSpPr>
            <a:spLocks noGrp="1"/>
          </p:cNvSpPr>
          <p:nvPr>
            <p:ph sz="half" idx="22"/>
          </p:nvPr>
        </p:nvSpPr>
        <p:spPr>
          <a:xfrm>
            <a:off x="6197771" y="750181"/>
            <a:ext cx="2573356" cy="2576412"/>
          </a:xfrm>
          <a:solidFill>
            <a:srgbClr val="54C6D7"/>
          </a:solidFill>
        </p:spPr>
        <p:txBody>
          <a:bodyPr lIns="144000" tIns="90000" rIns="144000" bIns="90000" anchor="t" anchorCtr="0"/>
          <a:lstStyle>
            <a:lvl1pPr>
              <a:defRPr sz="20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558D2BEF-D65E-4E0A-954B-4A84CA17B6AE}"/>
              </a:ext>
            </a:extLst>
          </p:cNvPr>
          <p:cNvSpPr>
            <a:spLocks noGrp="1"/>
          </p:cNvSpPr>
          <p:nvPr>
            <p:ph sz="half" idx="23"/>
          </p:nvPr>
        </p:nvSpPr>
        <p:spPr>
          <a:xfrm>
            <a:off x="6197771" y="3536566"/>
            <a:ext cx="2573356" cy="2576412"/>
          </a:xfrm>
          <a:solidFill>
            <a:srgbClr val="54C6D7"/>
          </a:solidFill>
        </p:spPr>
        <p:txBody>
          <a:bodyPr lIns="144000" tIns="90000" rIns="144000" bIns="90000" anchor="b" anchorCtr="0"/>
          <a:lstStyle>
            <a:lvl1pPr>
              <a:defRPr sz="20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lassholder for tekst 3">
            <a:extLst>
              <a:ext uri="{FF2B5EF4-FFF2-40B4-BE49-F238E27FC236}">
                <a16:creationId xmlns:a16="http://schemas.microsoft.com/office/drawing/2014/main" id="{C9391D84-3634-4B22-8A41-39B73459405D}"/>
              </a:ext>
            </a:extLst>
          </p:cNvPr>
          <p:cNvSpPr>
            <a:spLocks noGrp="1"/>
          </p:cNvSpPr>
          <p:nvPr>
            <p:ph type="body" sz="quarter" idx="30" hasCustomPrompt="1"/>
          </p:nvPr>
        </p:nvSpPr>
        <p:spPr>
          <a:xfrm>
            <a:off x="7747942" y="2304060"/>
            <a:ext cx="2249912" cy="2249879"/>
          </a:xfrm>
          <a:prstGeom prst="rect">
            <a:avLst/>
          </a:prstGeom>
          <a:blipFill>
            <a:blip r:embed="rId2" cstate="print">
              <a:extLst>
                <a:ext uri="{28A0092B-C50C-407E-A947-70E740481C1C}">
                  <a14:useLocalDpi xmlns:a14="http://schemas.microsoft.com/office/drawing/2010/main"/>
                </a:ext>
              </a:extLst>
            </a:blip>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4" name="Text Placeholder 16">
            <a:extLst>
              <a:ext uri="{FF2B5EF4-FFF2-40B4-BE49-F238E27FC236}">
                <a16:creationId xmlns:a16="http://schemas.microsoft.com/office/drawing/2014/main" id="{466D157E-A39B-4C79-AED7-D92719C90527}"/>
              </a:ext>
            </a:extLst>
          </p:cNvPr>
          <p:cNvSpPr>
            <a:spLocks noGrp="1" noChangeAspect="1"/>
          </p:cNvSpPr>
          <p:nvPr>
            <p:ph type="body" sz="quarter" idx="28" hasCustomPrompt="1"/>
          </p:nvPr>
        </p:nvSpPr>
        <p:spPr>
          <a:xfrm rot="2700000">
            <a:off x="8280702" y="2831264"/>
            <a:ext cx="1205775" cy="1205793"/>
          </a:xfrm>
          <a:solidFill>
            <a:srgbClr val="021838"/>
          </a:solidFill>
        </p:spPr>
        <p:txBody>
          <a:bodyPr/>
          <a:lstStyle>
            <a:lvl1pPr marL="0" indent="0" rtl="0">
              <a:buNone/>
              <a:tabLst>
                <a:tab pos="400130" algn="l"/>
              </a:tabLst>
              <a:defRPr sz="100">
                <a:solidFill>
                  <a:schemeClr val="bg1"/>
                </a:solidFill>
              </a:defRPr>
            </a:lvl1pPr>
          </a:lstStyle>
          <a:p>
            <a:pPr lvl="0"/>
            <a:r>
              <a:rPr lang="nb-NO"/>
              <a:t> </a:t>
            </a:r>
            <a:endParaRPr lang="en-GB"/>
          </a:p>
        </p:txBody>
      </p:sp>
      <p:sp>
        <p:nvSpPr>
          <p:cNvPr id="15" name="Content Placeholder 2">
            <a:extLst>
              <a:ext uri="{FF2B5EF4-FFF2-40B4-BE49-F238E27FC236}">
                <a16:creationId xmlns:a16="http://schemas.microsoft.com/office/drawing/2014/main" id="{8653E4DC-128A-4713-9A44-7CCFCF3AFF2C}"/>
              </a:ext>
            </a:extLst>
          </p:cNvPr>
          <p:cNvSpPr>
            <a:spLocks noGrp="1"/>
          </p:cNvSpPr>
          <p:nvPr>
            <p:ph sz="half" idx="32"/>
          </p:nvPr>
        </p:nvSpPr>
        <p:spPr>
          <a:xfrm>
            <a:off x="3425967" y="750182"/>
            <a:ext cx="2573356" cy="5357636"/>
          </a:xfrm>
          <a:solidFill>
            <a:srgbClr val="54C6D7"/>
          </a:solidFill>
        </p:spPr>
        <p:txBody>
          <a:bodyPr lIns="144000" tIns="90000" rIns="144000" bIns="90000" anchor="t" anchorCtr="0"/>
          <a:lstStyle>
            <a:lvl1pPr>
              <a:defRPr sz="2000" b="1"/>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lassholder for innhold 1">
            <a:extLst>
              <a:ext uri="{FF2B5EF4-FFF2-40B4-BE49-F238E27FC236}">
                <a16:creationId xmlns:a16="http://schemas.microsoft.com/office/drawing/2014/main" id="{1343B480-9E8A-43C4-A82D-03E098F947C0}"/>
              </a:ext>
            </a:extLst>
          </p:cNvPr>
          <p:cNvSpPr>
            <a:spLocks noGrp="1"/>
          </p:cNvSpPr>
          <p:nvPr>
            <p:ph sz="quarter" idx="33"/>
          </p:nvPr>
        </p:nvSpPr>
        <p:spPr>
          <a:xfrm>
            <a:off x="8430981" y="3061054"/>
            <a:ext cx="882765" cy="743036"/>
          </a:xfrm>
          <a:prstGeom prst="rect">
            <a:avLst/>
          </a:prstGeom>
        </p:spPr>
        <p:txBody>
          <a:bodyPr lIns="0" tIns="0" rIns="0" bIns="0" anchor="ctr" anchorCtr="0"/>
          <a:lstStyle>
            <a:lvl1pPr marL="0" indent="0" algn="ctr">
              <a:spcBef>
                <a:spcPts val="0"/>
              </a:spcBef>
              <a:buNone/>
              <a:defRPr sz="3000" b="1">
                <a:solidFill>
                  <a:schemeClr val="bg1"/>
                </a:solidFill>
                <a:latin typeface="Calibri" panose="020F0502020204030204" pitchFamily="34" charset="0"/>
                <a:cs typeface="Calibri" panose="020F0502020204030204" pitchFamily="34" charset="0"/>
              </a:defRPr>
            </a:lvl1pPr>
            <a:lvl2pPr marL="228646" indent="0">
              <a:buNone/>
              <a:defRPr/>
            </a:lvl2pPr>
            <a:lvl3pPr marL="396079" indent="0">
              <a:buNone/>
              <a:defRPr/>
            </a:lvl3pPr>
            <a:lvl4pPr marL="594118" indent="0">
              <a:buNone/>
              <a:defRPr/>
            </a:lvl4pPr>
          </a:lstStyle>
          <a:p>
            <a:pPr lvl="0"/>
            <a:r>
              <a:rPr lang="en-US"/>
              <a:t>Edit Master text styles</a:t>
            </a:r>
          </a:p>
        </p:txBody>
      </p:sp>
    </p:spTree>
    <p:extLst>
      <p:ext uri="{BB962C8B-B14F-4D97-AF65-F5344CB8AC3E}">
        <p14:creationId xmlns:p14="http://schemas.microsoft.com/office/powerpoint/2010/main" val="31201379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7B91FF4-1558-42C7-BCA1-886D57892794}"/>
              </a:ext>
            </a:extLst>
          </p:cNvPr>
          <p:cNvGraphicFramePr>
            <a:graphicFrameLocks noChangeAspect="1"/>
          </p:cNvGraphicFramePr>
          <p:nvPr userDrawn="1">
            <p:custDataLst>
              <p:tags r:id="rId2"/>
            </p:custDataLst>
            <p:extLst>
              <p:ext uri="{D42A27DB-BD31-4B8C-83A1-F6EECF244321}">
                <p14:modId xmlns:p14="http://schemas.microsoft.com/office/powerpoint/2010/main" val="2318812753"/>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1028" name="think-cell Slide" r:id="rId6" imgW="331" imgH="331" progId="TCLayout.ActiveDocument.1">
                  <p:embed/>
                </p:oleObj>
              </mc:Choice>
              <mc:Fallback>
                <p:oleObj name="think-cell Slide" r:id="rId6" imgW="331" imgH="331" progId="TCLayout.ActiveDocument.1">
                  <p:embed/>
                  <p:pic>
                    <p:nvPicPr>
                      <p:cNvPr id="5" name="Object 4" hidden="1">
                        <a:extLst>
                          <a:ext uri="{FF2B5EF4-FFF2-40B4-BE49-F238E27FC236}">
                            <a16:creationId xmlns:a16="http://schemas.microsoft.com/office/drawing/2014/main" id="{F7B91FF4-1558-42C7-BCA1-886D57892794}"/>
                          </a:ext>
                        </a:extLst>
                      </p:cNvPr>
                      <p:cNvPicPr/>
                      <p:nvPr/>
                    </p:nvPicPr>
                    <p:blipFill>
                      <a:blip r:embed="rId7"/>
                      <a:stretch>
                        <a:fillRect/>
                      </a:stretch>
                    </p:blipFill>
                    <p:spPr>
                      <a:xfrm>
                        <a:off x="1955" y="1588"/>
                        <a:ext cx="1954"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A7CDE89-D9D7-40C1-BFD7-637B41FD65DB}"/>
              </a:ext>
            </a:extLst>
          </p:cNvPr>
          <p:cNvSpPr/>
          <p:nvPr userDrawn="1">
            <p:custDataLst>
              <p:tags r:id="rId3"/>
            </p:custDataLst>
          </p:nvPr>
        </p:nvSpPr>
        <p:spPr>
          <a:xfrm>
            <a:off x="0" y="0"/>
            <a:ext cx="195385" cy="158750"/>
          </a:xfrm>
          <a:prstGeom prst="rect">
            <a:avLst/>
          </a:prstGeom>
          <a:solidFill>
            <a:srgbClr val="E6E6E6"/>
          </a:solidFill>
          <a:ln w="9525">
            <a:solidFill>
              <a:srgbClr val="E6E6E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a:endParaRPr lang="en-GB" sz="2800" b="0" i="0" baseline="0" dirty="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9" name="Text Placeholder 4"/>
          <p:cNvSpPr>
            <a:spLocks noGrp="1"/>
          </p:cNvSpPr>
          <p:nvPr>
            <p:ph type="body" sz="quarter" idx="39" hasCustomPrompt="1"/>
          </p:nvPr>
        </p:nvSpPr>
        <p:spPr>
          <a:xfrm>
            <a:off x="825190" y="6422530"/>
            <a:ext cx="10676348" cy="360000"/>
          </a:xfrm>
        </p:spPr>
        <p:txBody>
          <a:bodyPr vert="horz" lIns="0" tIns="0" rIns="0" bIns="0" rtlCol="0" anchor="t">
            <a:noAutofit/>
          </a:bodyPr>
          <a:lstStyle>
            <a:lvl1pPr marL="180000" indent="-180000" algn="l" rtl="0">
              <a:spcBef>
                <a:spcPts val="0"/>
              </a:spcBef>
              <a:buNone/>
              <a:defRPr lang="en-US" sz="800" i="1" dirty="0">
                <a:latin typeface="Calibri" panose="020F0502020204030204" pitchFamily="34" charset="0"/>
                <a:cs typeface="Calibri" panose="020F0502020204030204" pitchFamily="34" charset="0"/>
                <a:sym typeface="Calibri" panose="020F0502020204030204" pitchFamily="34" charset="0"/>
              </a:defRPr>
            </a:lvl1pPr>
          </a:lstStyle>
          <a:p>
            <a:pPr marL="0" lvl="0" indent="0"/>
            <a:r>
              <a:rPr lang="en-GB"/>
              <a:t>Edit Master text styles</a:t>
            </a:r>
            <a:endParaRPr lang="en-GB" dirty="0"/>
          </a:p>
        </p:txBody>
      </p:sp>
      <p:sp>
        <p:nvSpPr>
          <p:cNvPr id="10" name="TextBox 9">
            <a:extLst>
              <a:ext uri="{FF2B5EF4-FFF2-40B4-BE49-F238E27FC236}">
                <a16:creationId xmlns:a16="http://schemas.microsoft.com/office/drawing/2014/main" id="{CEE747B9-0059-4890-9C32-F9CAF13220B2}"/>
              </a:ext>
            </a:extLst>
          </p:cNvPr>
          <p:cNvSpPr txBox="1"/>
          <p:nvPr userDrawn="1">
            <p:custDataLst>
              <p:tags r:id="rId4"/>
            </p:custDataLst>
          </p:nvPr>
        </p:nvSpPr>
        <p:spPr>
          <a:xfrm>
            <a:off x="11501538" y="6422530"/>
            <a:ext cx="443077" cy="360000"/>
          </a:xfrm>
          <a:prstGeom prst="rect">
            <a:avLst/>
          </a:prstGeom>
        </p:spPr>
        <p:txBody>
          <a:bodyPr vert="horz" lIns="0" tIns="0" rIns="0" bIns="0" rtlCol="0" anchor="ctr"/>
          <a:lstStyle>
            <a:defPPr>
              <a:defRPr lang="sv-SE"/>
            </a:defPPr>
            <a:lvl1pPr algn="r">
              <a:defRPr sz="900"/>
            </a:lvl1pPr>
          </a:lstStyle>
          <a:p>
            <a:pPr lvl="0" rtl="0"/>
            <a:fld id="{84BA8AC3-EF90-41E4-B1FE-FF0FBC5C7C31}" type="slidenum">
              <a:rPr lang="en-GB" sz="900" smtClean="0">
                <a:latin typeface="Calibri" panose="020F0502020204030204" pitchFamily="34" charset="0"/>
                <a:cs typeface="Calibri" panose="020F0502020204030204" pitchFamily="34" charset="0"/>
                <a:sym typeface="Calibri" panose="020F0502020204030204" pitchFamily="34" charset="0"/>
              </a:rPr>
              <a:pPr lvl="0" rtl="0"/>
              <a:t>‹#›</a:t>
            </a:fld>
            <a:endParaRPr lang="en-GB" sz="900" dirty="0">
              <a:latin typeface="Calibri" panose="020F0502020204030204" pitchFamily="34" charset="0"/>
              <a:cs typeface="Calibri" panose="020F0502020204030204" pitchFamily="34" charset="0"/>
              <a:sym typeface="Calibri" panose="020F0502020204030204" pitchFamily="34" charset="0"/>
            </a:endParaRPr>
          </a:p>
        </p:txBody>
      </p:sp>
      <p:sp>
        <p:nvSpPr>
          <p:cNvPr id="11" name="Title Placeholder 1">
            <a:extLst>
              <a:ext uri="{FF2B5EF4-FFF2-40B4-BE49-F238E27FC236}">
                <a16:creationId xmlns:a16="http://schemas.microsoft.com/office/drawing/2014/main" id="{62B704B1-BE98-4A1B-A57D-B9945DE58591}"/>
              </a:ext>
            </a:extLst>
          </p:cNvPr>
          <p:cNvSpPr>
            <a:spLocks noGrp="1"/>
          </p:cNvSpPr>
          <p:nvPr>
            <p:ph type="title"/>
          </p:nvPr>
        </p:nvSpPr>
        <p:spPr>
          <a:xfrm>
            <a:off x="244154" y="378000"/>
            <a:ext cx="11701784" cy="504000"/>
          </a:xfrm>
          <a:prstGeom prst="rect">
            <a:avLst/>
          </a:prstGeom>
        </p:spPr>
        <p:txBody>
          <a:bodyPr vert="horz" lIns="0" tIns="0" rIns="0" bIns="54000" rtlCol="0" anchor="b" anchorCtr="0">
            <a:normAutofit/>
          </a:bodyPr>
          <a:lstStyle>
            <a:lvl1pPr rtl="0">
              <a:defRPr/>
            </a:lvl1pPr>
          </a:lstStyle>
          <a:p>
            <a:endParaRPr lang="en-GB" noProof="0" dirty="0"/>
          </a:p>
        </p:txBody>
      </p:sp>
    </p:spTree>
    <p:extLst>
      <p:ext uri="{BB962C8B-B14F-4D97-AF65-F5344CB8AC3E}">
        <p14:creationId xmlns:p14="http://schemas.microsoft.com/office/powerpoint/2010/main" val="12081220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blue - 1">
    <p:bg>
      <p:bgPr>
        <a:solidFill>
          <a:schemeClr val="accent1"/>
        </a:solidFill>
        <a:effectLst/>
      </p:bgPr>
    </p:bg>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88EF88F4-2F4B-4CA0-B051-E1E58B65BE3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5054" b="25712"/>
          <a:stretch/>
        </p:blipFill>
        <p:spPr>
          <a:xfrm>
            <a:off x="0" y="750655"/>
            <a:ext cx="12192000" cy="5412734"/>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750657"/>
            <a:ext cx="4377307" cy="5412731"/>
          </a:xfrm>
          <a:solidFill>
            <a:schemeClr val="accent1"/>
          </a:solidFill>
        </p:spPr>
        <p:txBody>
          <a:bodyPr anchor="b" anchorCtr="0"/>
          <a:lstStyle>
            <a:lvl1pPr marL="0" indent="0" algn="ctr">
              <a:lnSpc>
                <a:spcPct val="120000"/>
              </a:lnSpc>
              <a:spcBef>
                <a:spcPts val="0"/>
              </a:spcBef>
              <a:buNone/>
              <a:defRPr sz="1400">
                <a:solidFill>
                  <a:srgbClr val="50BFD1"/>
                </a:solidFill>
                <a:latin typeface="Calibri" panose="020F0502020204030204" pitchFamily="34" charset="0"/>
                <a:cs typeface="Calibri" panose="020F0502020204030204" pitchFamily="34" charset="0"/>
              </a:defRPr>
            </a:lvl1pPr>
          </a:lstStyle>
          <a:p>
            <a:pPr lvl="0"/>
            <a:r>
              <a:rPr lang="en-GB"/>
              <a:t>Name, title</a:t>
            </a:r>
          </a:p>
        </p:txBody>
      </p:sp>
      <p:sp>
        <p:nvSpPr>
          <p:cNvPr id="3" name="Subtitle 2"/>
          <p:cNvSpPr>
            <a:spLocks noGrp="1"/>
          </p:cNvSpPr>
          <p:nvPr>
            <p:ph type="subTitle" idx="1" hasCustomPrompt="1"/>
          </p:nvPr>
        </p:nvSpPr>
        <p:spPr>
          <a:xfrm>
            <a:off x="2167220" y="2675466"/>
            <a:ext cx="3694641" cy="215468"/>
          </a:xfrm>
        </p:spPr>
        <p:txBody>
          <a:bodyPr wrap="square" anchor="b" anchorCtr="0">
            <a:spAutoFit/>
          </a:bodyPr>
          <a:lstStyle>
            <a:lvl1pPr marL="0" indent="0" algn="ctr">
              <a:buNone/>
              <a:defRPr sz="1400" cap="all" spc="105" baseline="0">
                <a:solidFill>
                  <a:schemeClr val="bg1"/>
                </a:solidFill>
                <a:latin typeface="Calibri" panose="020F0502020204030204" pitchFamily="34" charset="0"/>
                <a:cs typeface="Calibri" panose="020F0502020204030204"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SUBHEADLINE OPTIONAL</a:t>
            </a:r>
            <a:endParaRPr lang="en-US"/>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2167220" y="3943998"/>
            <a:ext cx="3694641" cy="307777"/>
          </a:xfrm>
        </p:spPr>
        <p:txBody>
          <a:bodyPr>
            <a:spAutoFit/>
          </a:bodyPr>
          <a:lstStyle>
            <a:lvl1pPr algn="ctr">
              <a:defRPr sz="1400">
                <a:solidFill>
                  <a:srgbClr val="50BFD1"/>
                </a:solidFill>
                <a:latin typeface="Calibri" panose="020F0502020204030204" pitchFamily="34" charset="0"/>
                <a:cs typeface="Calibri" panose="020F0502020204030204" pitchFamily="34" charset="0"/>
              </a:defRPr>
            </a:lvl1pPr>
          </a:lstStyle>
          <a:p>
            <a:fld id="{0FCD370F-E3E4-4B5C-8D09-539E47D4DA75}" type="datetime1">
              <a:rPr lang="en-GB" smtClean="0"/>
              <a:pPr/>
              <a:t>06/06/2022</a:t>
            </a:fld>
            <a:endParaRPr lang="nb-NO"/>
          </a:p>
        </p:txBody>
      </p:sp>
      <p:sp>
        <p:nvSpPr>
          <p:cNvPr id="5" name="Plassholder for tekst 4">
            <a:extLst>
              <a:ext uri="{FF2B5EF4-FFF2-40B4-BE49-F238E27FC236}">
                <a16:creationId xmlns:a16="http://schemas.microsoft.com/office/drawing/2014/main" id="{9C931467-8EE7-4AF1-B29D-319FF182C80C}"/>
              </a:ext>
            </a:extLst>
          </p:cNvPr>
          <p:cNvSpPr>
            <a:spLocks noGrp="1"/>
          </p:cNvSpPr>
          <p:nvPr>
            <p:ph type="body" sz="quarter" idx="13" hasCustomPrompt="1"/>
          </p:nvPr>
        </p:nvSpPr>
        <p:spPr>
          <a:xfrm>
            <a:off x="3599529" y="750799"/>
            <a:ext cx="826117" cy="829153"/>
          </a:xfrm>
          <a:prstGeom prst="rect">
            <a:avLst/>
          </a:prstGeom>
          <a:blipFill>
            <a:blip r:embed="rId3"/>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2" name="Plassholder for tekst 2">
            <a:extLst>
              <a:ext uri="{FF2B5EF4-FFF2-40B4-BE49-F238E27FC236}">
                <a16:creationId xmlns:a16="http://schemas.microsoft.com/office/drawing/2014/main" id="{8CEC7D9D-E8D6-4C2B-9E3C-BD5B53D502D6}"/>
              </a:ext>
            </a:extLst>
          </p:cNvPr>
          <p:cNvSpPr>
            <a:spLocks noGrp="1"/>
          </p:cNvSpPr>
          <p:nvPr>
            <p:ph type="body" sz="quarter" idx="15"/>
          </p:nvPr>
        </p:nvSpPr>
        <p:spPr>
          <a:xfrm>
            <a:off x="2167220" y="3088539"/>
            <a:ext cx="3694641" cy="936117"/>
          </a:xfrm>
        </p:spPr>
        <p:txBody>
          <a:bodyPr lIns="0" tIns="0" rIns="0" bIns="0">
            <a:normAutofit/>
          </a:bodyPr>
          <a:lstStyle>
            <a:lvl1pPr marL="0" indent="0" algn="ctr">
              <a:lnSpc>
                <a:spcPct val="88000"/>
              </a:lnSpc>
              <a:buNone/>
              <a:defRPr sz="300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pic>
        <p:nvPicPr>
          <p:cNvPr id="4" name="Bilde 3" descr="Et bilde som inneholder kuppel, svart, bygning, innendørs&#10;&#10;Beskrivelse som er generert med svært høy visshet">
            <a:extLst>
              <a:ext uri="{FF2B5EF4-FFF2-40B4-BE49-F238E27FC236}">
                <a16:creationId xmlns:a16="http://schemas.microsoft.com/office/drawing/2014/main" id="{437CCA03-C942-4E35-A4A0-A979F13E07D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96000" y="4683600"/>
            <a:ext cx="1141689" cy="1141689"/>
          </a:xfrm>
          <a:prstGeom prst="rect">
            <a:avLst/>
          </a:prstGeom>
        </p:spPr>
      </p:pic>
      <p:pic>
        <p:nvPicPr>
          <p:cNvPr id="14" name="Bilde 13" descr="Et bilde som inneholder innendørs&#10;&#10;Beskrivelse som er generert med høy visshet">
            <a:extLst>
              <a:ext uri="{FF2B5EF4-FFF2-40B4-BE49-F238E27FC236}">
                <a16:creationId xmlns:a16="http://schemas.microsoft.com/office/drawing/2014/main" id="{66473CF4-D307-436A-83DD-32496F42849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483404" y="4683239"/>
            <a:ext cx="5412350" cy="1142049"/>
          </a:xfrm>
          <a:prstGeom prst="rect">
            <a:avLst/>
          </a:prstGeom>
        </p:spPr>
      </p:pic>
      <p:sp>
        <p:nvSpPr>
          <p:cNvPr id="13" name="TekstSylinder 12">
            <a:extLst>
              <a:ext uri="{FF2B5EF4-FFF2-40B4-BE49-F238E27FC236}">
                <a16:creationId xmlns:a16="http://schemas.microsoft.com/office/drawing/2014/main" id="{43EE50CF-99E5-4FC3-9ACA-334C379E6BBE}"/>
              </a:ext>
            </a:extLst>
          </p:cNvPr>
          <p:cNvSpPr txBox="1"/>
          <p:nvPr userDrawn="1"/>
        </p:nvSpPr>
        <p:spPr>
          <a:xfrm>
            <a:off x="1819512" y="6367463"/>
            <a:ext cx="4377307" cy="317074"/>
          </a:xfrm>
          <a:prstGeom prst="rect">
            <a:avLst/>
          </a:prstGeom>
          <a:noFill/>
        </p:spPr>
        <p:txBody>
          <a:bodyPr wrap="square" lIns="144000" rIns="144000" rtlCol="0">
            <a:spAutoFit/>
          </a:bodyPr>
          <a:lstStyle/>
          <a:p>
            <a:pPr algn="ctr">
              <a:lnSpc>
                <a:spcPct val="110000"/>
              </a:lnSpc>
            </a:pPr>
            <a:r>
              <a:rPr lang="en-GB" sz="450" b="1" i="0" kern="1200" spc="20"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450" b="0" i="0" kern="1200" spc="20" baseline="0" dirty="0">
                <a:solidFill>
                  <a:schemeClr val="bg1"/>
                </a:solidFill>
                <a:effectLst/>
                <a:latin typeface="Calibri" panose="020F0502020204030204" pitchFamily="34" charset="0"/>
                <a:ea typeface="+mn-ea"/>
                <a:cs typeface="Calibri" panose="020F0502020204030204" pitchFamily="34" charset="0"/>
              </a:rPr>
            </a:b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 2018 KONGSBERG – All rights reserved</a:t>
            </a:r>
            <a:r>
              <a:rPr lang="en-GB" sz="450" b="0" i="0" kern="1200" dirty="0">
                <a:solidFill>
                  <a:schemeClr val="bg1"/>
                </a:solidFill>
                <a:effectLst/>
                <a:latin typeface="Calibri" panose="020F0502020204030204" pitchFamily="34" charset="0"/>
                <a:ea typeface="+mn-ea"/>
                <a:cs typeface="Calibri" panose="020F0502020204030204" pitchFamily="34" charset="0"/>
              </a:rPr>
              <a:t>.</a:t>
            </a:r>
            <a:endParaRPr lang="nb-NO">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116146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blue - 2">
    <p:bg>
      <p:bgPr>
        <a:solidFill>
          <a:schemeClr val="accent1"/>
        </a:solidFill>
        <a:effectLst/>
      </p:bgPr>
    </p:bg>
    <p:spTree>
      <p:nvGrpSpPr>
        <p:cNvPr id="1" name=""/>
        <p:cNvGrpSpPr/>
        <p:nvPr/>
      </p:nvGrpSpPr>
      <p:grpSpPr>
        <a:xfrm>
          <a:off x="0" y="0"/>
          <a:ext cx="0" cy="0"/>
          <a:chOff x="0" y="0"/>
          <a:chExt cx="0" cy="0"/>
        </a:xfrm>
      </p:grpSpPr>
      <p:pic>
        <p:nvPicPr>
          <p:cNvPr id="6" name="Bilde 5" descr="Et bilde som inneholder vann&#10;&#10;Beskrivelse som er generert med høy visshet">
            <a:extLst>
              <a:ext uri="{FF2B5EF4-FFF2-40B4-BE49-F238E27FC236}">
                <a16:creationId xmlns:a16="http://schemas.microsoft.com/office/drawing/2014/main" id="{9373F49D-38A1-4C96-AA4B-0DC72580B90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0703" r="11152"/>
          <a:stretch/>
        </p:blipFill>
        <p:spPr>
          <a:xfrm rot="16200000">
            <a:off x="3417727" y="-2667074"/>
            <a:ext cx="5356544" cy="12192001"/>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750657"/>
            <a:ext cx="4377307" cy="5412731"/>
          </a:xfrm>
          <a:solidFill>
            <a:srgbClr val="001639"/>
          </a:solidFill>
        </p:spPr>
        <p:txBody>
          <a:bodyPr anchor="b" anchorCtr="0"/>
          <a:lstStyle>
            <a:lvl1pPr marL="0" indent="0" algn="ctr">
              <a:lnSpc>
                <a:spcPct val="120000"/>
              </a:lnSpc>
              <a:spcBef>
                <a:spcPts val="0"/>
              </a:spcBef>
              <a:buNone/>
              <a:defRPr sz="1400">
                <a:solidFill>
                  <a:srgbClr val="50BFD1"/>
                </a:solidFill>
                <a:latin typeface="Calibri" panose="020F0502020204030204" pitchFamily="34" charset="0"/>
                <a:cs typeface="Calibri" panose="020F0502020204030204" pitchFamily="34" charset="0"/>
              </a:defRPr>
            </a:lvl1pPr>
          </a:lstStyle>
          <a:p>
            <a:pPr lvl="0"/>
            <a:r>
              <a:rPr lang="en-GB"/>
              <a:t>Name, title</a:t>
            </a:r>
          </a:p>
        </p:txBody>
      </p:sp>
      <p:sp>
        <p:nvSpPr>
          <p:cNvPr id="3" name="Subtitle 2"/>
          <p:cNvSpPr>
            <a:spLocks noGrp="1"/>
          </p:cNvSpPr>
          <p:nvPr>
            <p:ph type="subTitle" idx="1" hasCustomPrompt="1"/>
          </p:nvPr>
        </p:nvSpPr>
        <p:spPr>
          <a:xfrm>
            <a:off x="2167220" y="2675466"/>
            <a:ext cx="3694641" cy="215468"/>
          </a:xfrm>
        </p:spPr>
        <p:txBody>
          <a:bodyPr wrap="square" anchor="b" anchorCtr="0">
            <a:spAutoFit/>
          </a:bodyPr>
          <a:lstStyle>
            <a:lvl1pPr marL="0" indent="0" algn="ctr">
              <a:buNone/>
              <a:defRPr sz="1400" cap="all" spc="105" baseline="0">
                <a:solidFill>
                  <a:schemeClr val="bg1"/>
                </a:solidFill>
                <a:latin typeface="Calibri" panose="020F0502020204030204" pitchFamily="34" charset="0"/>
                <a:cs typeface="Calibri" panose="020F0502020204030204"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nb-NO"/>
              <a:t>SUBHEADLINE OPTIONAL</a:t>
            </a:r>
            <a:endParaRPr lang="en-US"/>
          </a:p>
        </p:txBody>
      </p:sp>
      <p:sp>
        <p:nvSpPr>
          <p:cNvPr id="7" name="Plassholder for dato 6">
            <a:extLst>
              <a:ext uri="{FF2B5EF4-FFF2-40B4-BE49-F238E27FC236}">
                <a16:creationId xmlns:a16="http://schemas.microsoft.com/office/drawing/2014/main" id="{72D8ABB5-89AD-4352-86DD-7884121D9C1C}"/>
              </a:ext>
            </a:extLst>
          </p:cNvPr>
          <p:cNvSpPr>
            <a:spLocks noGrp="1"/>
          </p:cNvSpPr>
          <p:nvPr>
            <p:ph type="dt" sz="half" idx="10"/>
          </p:nvPr>
        </p:nvSpPr>
        <p:spPr>
          <a:xfrm>
            <a:off x="2167220" y="3943998"/>
            <a:ext cx="3694641" cy="307777"/>
          </a:xfrm>
        </p:spPr>
        <p:txBody>
          <a:bodyPr>
            <a:spAutoFit/>
          </a:bodyPr>
          <a:lstStyle>
            <a:lvl1pPr algn="ctr">
              <a:defRPr sz="1400">
                <a:solidFill>
                  <a:srgbClr val="50BFD1"/>
                </a:solidFill>
                <a:latin typeface="Calibri" panose="020F0502020204030204" pitchFamily="34" charset="0"/>
                <a:cs typeface="Calibri" panose="020F0502020204030204" pitchFamily="34" charset="0"/>
              </a:defRPr>
            </a:lvl1pPr>
          </a:lstStyle>
          <a:p>
            <a:fld id="{0FCD370F-E3E4-4B5C-8D09-539E47D4DA75}" type="datetime1">
              <a:rPr lang="en-GB" smtClean="0"/>
              <a:pPr/>
              <a:t>06/06/2022</a:t>
            </a:fld>
            <a:endParaRPr lang="nb-NO"/>
          </a:p>
        </p:txBody>
      </p:sp>
      <p:sp>
        <p:nvSpPr>
          <p:cNvPr id="5" name="Plassholder for tekst 4">
            <a:extLst>
              <a:ext uri="{FF2B5EF4-FFF2-40B4-BE49-F238E27FC236}">
                <a16:creationId xmlns:a16="http://schemas.microsoft.com/office/drawing/2014/main" id="{9C931467-8EE7-4AF1-B29D-319FF182C80C}"/>
              </a:ext>
            </a:extLst>
          </p:cNvPr>
          <p:cNvSpPr>
            <a:spLocks noGrp="1"/>
          </p:cNvSpPr>
          <p:nvPr>
            <p:ph type="body" sz="quarter" idx="13" hasCustomPrompt="1"/>
          </p:nvPr>
        </p:nvSpPr>
        <p:spPr>
          <a:xfrm>
            <a:off x="3599529" y="750799"/>
            <a:ext cx="826117" cy="829153"/>
          </a:xfrm>
          <a:prstGeom prst="rect">
            <a:avLst/>
          </a:prstGeom>
          <a:blipFill>
            <a:blip r:embed="rId3"/>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2" name="Plassholder for tekst 2">
            <a:extLst>
              <a:ext uri="{FF2B5EF4-FFF2-40B4-BE49-F238E27FC236}">
                <a16:creationId xmlns:a16="http://schemas.microsoft.com/office/drawing/2014/main" id="{8CEC7D9D-E8D6-4C2B-9E3C-BD5B53D502D6}"/>
              </a:ext>
            </a:extLst>
          </p:cNvPr>
          <p:cNvSpPr>
            <a:spLocks noGrp="1"/>
          </p:cNvSpPr>
          <p:nvPr>
            <p:ph type="body" sz="quarter" idx="15"/>
          </p:nvPr>
        </p:nvSpPr>
        <p:spPr>
          <a:xfrm>
            <a:off x="2167220" y="3088539"/>
            <a:ext cx="3694641" cy="936117"/>
          </a:xfrm>
        </p:spPr>
        <p:txBody>
          <a:bodyPr lIns="0" tIns="0" rIns="0" bIns="0">
            <a:normAutofit/>
          </a:bodyPr>
          <a:lstStyle>
            <a:lvl1pPr marL="0" indent="0" algn="ctr">
              <a:lnSpc>
                <a:spcPct val="88000"/>
              </a:lnSpc>
              <a:buNone/>
              <a:defRPr sz="300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pic>
        <p:nvPicPr>
          <p:cNvPr id="10" name="Bilde 9" descr="Et bilde som inneholder innendørs, vegg&#10;&#10;Beskrivelse som er generert med høy visshet">
            <a:extLst>
              <a:ext uri="{FF2B5EF4-FFF2-40B4-BE49-F238E27FC236}">
                <a16:creationId xmlns:a16="http://schemas.microsoft.com/office/drawing/2014/main" id="{F7D679CA-91A2-4136-A0E7-732651AA7EC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483600" y="4683600"/>
            <a:ext cx="5413259" cy="1142241"/>
          </a:xfrm>
          <a:prstGeom prst="rect">
            <a:avLst/>
          </a:prstGeom>
        </p:spPr>
      </p:pic>
      <p:pic>
        <p:nvPicPr>
          <p:cNvPr id="13" name="Bilde 12" descr="Et bilde som inneholder svart, bygning, innendørs, hvit&#10;&#10;Beskrivelse som er generert med svært høy visshet">
            <a:extLst>
              <a:ext uri="{FF2B5EF4-FFF2-40B4-BE49-F238E27FC236}">
                <a16:creationId xmlns:a16="http://schemas.microsoft.com/office/drawing/2014/main" id="{947E15F7-D111-4924-A964-1E1FB4A62CA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96000" y="4683600"/>
            <a:ext cx="1142241" cy="1142241"/>
          </a:xfrm>
          <a:prstGeom prst="rect">
            <a:avLst/>
          </a:prstGeom>
        </p:spPr>
      </p:pic>
      <p:sp>
        <p:nvSpPr>
          <p:cNvPr id="15" name="TekstSylinder 14">
            <a:extLst>
              <a:ext uri="{FF2B5EF4-FFF2-40B4-BE49-F238E27FC236}">
                <a16:creationId xmlns:a16="http://schemas.microsoft.com/office/drawing/2014/main" id="{A0DAB33A-4EE8-4FA8-BE92-34D3F47E485B}"/>
              </a:ext>
            </a:extLst>
          </p:cNvPr>
          <p:cNvSpPr txBox="1"/>
          <p:nvPr userDrawn="1"/>
        </p:nvSpPr>
        <p:spPr>
          <a:xfrm>
            <a:off x="1819512" y="6367463"/>
            <a:ext cx="4377307" cy="317074"/>
          </a:xfrm>
          <a:prstGeom prst="rect">
            <a:avLst/>
          </a:prstGeom>
          <a:noFill/>
        </p:spPr>
        <p:txBody>
          <a:bodyPr wrap="square" lIns="144000" rIns="144000" rtlCol="0">
            <a:spAutoFit/>
          </a:bodyPr>
          <a:lstStyle/>
          <a:p>
            <a:pPr algn="ctr">
              <a:lnSpc>
                <a:spcPct val="110000"/>
              </a:lnSpc>
            </a:pPr>
            <a:r>
              <a:rPr lang="en-GB" sz="450" b="1" i="0" kern="1200" spc="20" baseline="0" dirty="0">
                <a:solidFill>
                  <a:schemeClr val="bg1"/>
                </a:solidFill>
                <a:effectLst/>
                <a:latin typeface="Calibri" panose="020F0502020204030204" pitchFamily="34" charset="0"/>
                <a:ea typeface="+mn-ea"/>
                <a:cs typeface="Calibri" panose="020F0502020204030204" pitchFamily="34" charset="0"/>
              </a:rPr>
              <a:t>KONGSBERG PROPRIETARY:  </a:t>
            </a: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This document contains KONGSBERG information which is proprietary and confidential. Any disclosure, copying, distribution or use is prohibited if not otherwise explicitly agreed with KONGSBERG in writing. Any authorised reproduction in whole or in part, must include this legend. </a:t>
            </a:r>
            <a:br>
              <a:rPr lang="en-GB" sz="450" b="0" i="0" kern="1200" spc="20" baseline="0" dirty="0">
                <a:solidFill>
                  <a:schemeClr val="bg1"/>
                </a:solidFill>
                <a:effectLst/>
                <a:latin typeface="Calibri" panose="020F0502020204030204" pitchFamily="34" charset="0"/>
                <a:ea typeface="+mn-ea"/>
                <a:cs typeface="Calibri" panose="020F0502020204030204" pitchFamily="34" charset="0"/>
              </a:rPr>
            </a:br>
            <a:r>
              <a:rPr lang="en-GB" sz="450" b="0" i="0" kern="1200" spc="20" baseline="0" dirty="0">
                <a:solidFill>
                  <a:schemeClr val="bg1"/>
                </a:solidFill>
                <a:effectLst/>
                <a:latin typeface="Calibri" panose="020F0502020204030204" pitchFamily="34" charset="0"/>
                <a:ea typeface="+mn-ea"/>
                <a:cs typeface="Calibri" panose="020F0502020204030204" pitchFamily="34" charset="0"/>
              </a:rPr>
              <a:t>© 2018 KONGSBERG – All rights reserved</a:t>
            </a:r>
            <a:r>
              <a:rPr lang="en-GB" sz="450" b="0" i="0" kern="1200" dirty="0">
                <a:solidFill>
                  <a:schemeClr val="bg1"/>
                </a:solidFill>
                <a:effectLst/>
                <a:latin typeface="Calibri" panose="020F0502020204030204" pitchFamily="34" charset="0"/>
                <a:ea typeface="+mn-ea"/>
                <a:cs typeface="Calibri" panose="020F0502020204030204" pitchFamily="34" charset="0"/>
              </a:rPr>
              <a:t>.</a:t>
            </a:r>
            <a:endParaRPr lang="nb-NO">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520464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ign off slide, white - 1">
    <p:bg>
      <p:bgPr>
        <a:solidFill>
          <a:schemeClr val="bg1"/>
        </a:solidFill>
        <a:effectLst/>
      </p:bgPr>
    </p:bg>
    <p:spTree>
      <p:nvGrpSpPr>
        <p:cNvPr id="1" name=""/>
        <p:cNvGrpSpPr/>
        <p:nvPr/>
      </p:nvGrpSpPr>
      <p:grpSpPr>
        <a:xfrm>
          <a:off x="0" y="0"/>
          <a:ext cx="0" cy="0"/>
          <a:chOff x="0" y="0"/>
          <a:chExt cx="0" cy="0"/>
        </a:xfrm>
      </p:grpSpPr>
      <p:pic>
        <p:nvPicPr>
          <p:cNvPr id="9" name="Bilde 8" descr="Et bilde som inneholder natur&#10;&#10;Beskrivelse som er generert med svært høy visshet">
            <a:extLst>
              <a:ext uri="{FF2B5EF4-FFF2-40B4-BE49-F238E27FC236}">
                <a16:creationId xmlns:a16="http://schemas.microsoft.com/office/drawing/2014/main" id="{707F6009-38B5-4E51-B5A5-44697BC458F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3014" b="28300"/>
          <a:stretch/>
        </p:blipFill>
        <p:spPr>
          <a:xfrm flipH="1">
            <a:off x="0" y="750653"/>
            <a:ext cx="12192000" cy="5354906"/>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1253758"/>
            <a:ext cx="4377307" cy="4380778"/>
          </a:xfrm>
          <a:solidFill>
            <a:schemeClr val="bg1"/>
          </a:solidFill>
        </p:spPr>
        <p:txBody>
          <a:bodyPr bIns="1432800" anchor="b" anchorCtr="0"/>
          <a:lstStyle>
            <a:lvl1pPr marL="0" indent="0" algn="ctr">
              <a:lnSpc>
                <a:spcPct val="120000"/>
              </a:lnSpc>
              <a:spcBef>
                <a:spcPts val="0"/>
              </a:spcBef>
              <a:buNone/>
              <a:defRPr sz="1400">
                <a:solidFill>
                  <a:srgbClr val="737B92"/>
                </a:solidFill>
                <a:latin typeface="Calibri" panose="020F0502020204030204" pitchFamily="34" charset="0"/>
                <a:cs typeface="Calibri" panose="020F0502020204030204" pitchFamily="34" charset="0"/>
              </a:defRPr>
            </a:lvl1pPr>
          </a:lstStyle>
          <a:p>
            <a:pPr lvl="0"/>
            <a:r>
              <a:rPr lang="en-GB"/>
              <a:t>Click to enter e-mail</a:t>
            </a:r>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3599529" y="1660312"/>
            <a:ext cx="826117" cy="829153"/>
          </a:xfrm>
          <a:prstGeom prst="rect">
            <a:avLst/>
          </a:prstGeom>
          <a:blipFill>
            <a:blip r:embed="rId3"/>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3" name="Plassholder for tekst 2">
            <a:extLst>
              <a:ext uri="{FF2B5EF4-FFF2-40B4-BE49-F238E27FC236}">
                <a16:creationId xmlns:a16="http://schemas.microsoft.com/office/drawing/2014/main" id="{2ECFA8D1-88B1-4EA1-8DF8-31EEC202C2DA}"/>
              </a:ext>
            </a:extLst>
          </p:cNvPr>
          <p:cNvSpPr>
            <a:spLocks noGrp="1"/>
          </p:cNvSpPr>
          <p:nvPr>
            <p:ph type="body" sz="quarter" idx="14"/>
          </p:nvPr>
        </p:nvSpPr>
        <p:spPr>
          <a:xfrm>
            <a:off x="2167220" y="3088539"/>
            <a:ext cx="3694641" cy="936117"/>
          </a:xfrm>
        </p:spPr>
        <p:txBody>
          <a:bodyPr lIns="0" tIns="0" rIns="0" bIns="0">
            <a:normAutofit/>
          </a:bodyPr>
          <a:lstStyle>
            <a:lvl1pPr marL="0" indent="0" algn="ctr">
              <a:lnSpc>
                <a:spcPct val="88000"/>
              </a:lnSpc>
              <a:buNone/>
              <a:defRPr sz="3000" b="1">
                <a:latin typeface="Calibri" panose="020F0502020204030204" pitchFamily="34" charset="0"/>
                <a:cs typeface="Calibri" panose="020F0502020204030204" pitchFamily="34" charset="0"/>
              </a:defRPr>
            </a:lvl1pPr>
          </a:lstStyle>
          <a:p>
            <a:pPr lvl="0"/>
            <a:r>
              <a:rPr lang="en-US"/>
              <a:t>Edit Master text styles</a:t>
            </a:r>
          </a:p>
        </p:txBody>
      </p:sp>
      <p:pic>
        <p:nvPicPr>
          <p:cNvPr id="7" name="Bilde 6" descr="Et bilde som inneholder objekt&#10;&#10;Beskrivelse som er generert med høy visshet">
            <a:extLst>
              <a:ext uri="{FF2B5EF4-FFF2-40B4-BE49-F238E27FC236}">
                <a16:creationId xmlns:a16="http://schemas.microsoft.com/office/drawing/2014/main" id="{FDF9ECBC-D439-4FB0-B173-B4C44E766D2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4518514"/>
            <a:ext cx="12192000" cy="2339486"/>
          </a:xfrm>
          <a:prstGeom prst="rect">
            <a:avLst/>
          </a:prstGeom>
        </p:spPr>
      </p:pic>
      <p:sp>
        <p:nvSpPr>
          <p:cNvPr id="12" name="TekstSylinder 11">
            <a:extLst>
              <a:ext uri="{FF2B5EF4-FFF2-40B4-BE49-F238E27FC236}">
                <a16:creationId xmlns:a16="http://schemas.microsoft.com/office/drawing/2014/main" id="{EDB28252-1B88-47ED-B1D7-974BF2E2FF69}"/>
              </a:ext>
            </a:extLst>
          </p:cNvPr>
          <p:cNvSpPr txBox="1"/>
          <p:nvPr userDrawn="1"/>
        </p:nvSpPr>
        <p:spPr>
          <a:xfrm>
            <a:off x="3886200" y="6354000"/>
            <a:ext cx="4419602" cy="230832"/>
          </a:xfrm>
          <a:prstGeom prst="rect">
            <a:avLst/>
          </a:prstGeom>
          <a:noFill/>
        </p:spPr>
        <p:txBody>
          <a:bodyPr wrap="square" rtlCol="0">
            <a:spAutoFit/>
          </a:bodyPr>
          <a:lstStyle/>
          <a:p>
            <a:pPr algn="ctr"/>
            <a:r>
              <a:rPr lang="en-GB" sz="900"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dirty="0">
              <a:solidFill>
                <a:srgbClr val="99999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349202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ign off slide, white - 2">
    <p:bg>
      <p:bgPr>
        <a:solidFill>
          <a:schemeClr val="bg1"/>
        </a:solidFill>
        <a:effectLst/>
      </p:bgPr>
    </p:bg>
    <p:spTree>
      <p:nvGrpSpPr>
        <p:cNvPr id="1" name=""/>
        <p:cNvGrpSpPr/>
        <p:nvPr/>
      </p:nvGrpSpPr>
      <p:grpSpPr>
        <a:xfrm>
          <a:off x="0" y="0"/>
          <a:ext cx="0" cy="0"/>
          <a:chOff x="0" y="0"/>
          <a:chExt cx="0" cy="0"/>
        </a:xfrm>
      </p:grpSpPr>
      <p:pic>
        <p:nvPicPr>
          <p:cNvPr id="10" name="Bilde 9" descr="Et bilde som inneholder tre, utendørs, plante, grønn&#10;&#10;Beskrivelse som er generert med svært høy visshet">
            <a:extLst>
              <a:ext uri="{FF2B5EF4-FFF2-40B4-BE49-F238E27FC236}">
                <a16:creationId xmlns:a16="http://schemas.microsoft.com/office/drawing/2014/main" id="{5251CAE5-647F-4BAF-8BEF-40D0A4415A1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4195" b="26847"/>
          <a:stretch/>
        </p:blipFill>
        <p:spPr>
          <a:xfrm flipH="1">
            <a:off x="0" y="750656"/>
            <a:ext cx="12192000" cy="5391063"/>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1253758"/>
            <a:ext cx="4377307" cy="4380778"/>
          </a:xfrm>
          <a:solidFill>
            <a:schemeClr val="bg1"/>
          </a:solidFill>
        </p:spPr>
        <p:txBody>
          <a:bodyPr bIns="1432800" anchor="b" anchorCtr="0"/>
          <a:lstStyle>
            <a:lvl1pPr marL="0" indent="0" algn="ctr">
              <a:lnSpc>
                <a:spcPct val="120000"/>
              </a:lnSpc>
              <a:spcBef>
                <a:spcPts val="0"/>
              </a:spcBef>
              <a:buNone/>
              <a:defRPr sz="1400">
                <a:solidFill>
                  <a:srgbClr val="737B92"/>
                </a:solidFill>
                <a:latin typeface="Calibri" panose="020F0502020204030204" pitchFamily="34" charset="0"/>
                <a:cs typeface="Calibri" panose="020F0502020204030204" pitchFamily="34" charset="0"/>
              </a:defRPr>
            </a:lvl1pPr>
          </a:lstStyle>
          <a:p>
            <a:pPr lvl="0"/>
            <a:r>
              <a:rPr lang="en-GB"/>
              <a:t>Click to enter e-mail</a:t>
            </a:r>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3599529" y="1660312"/>
            <a:ext cx="826117" cy="829153"/>
          </a:xfrm>
          <a:prstGeom prst="rect">
            <a:avLst/>
          </a:prstGeom>
          <a:blipFill>
            <a:blip r:embed="rId3"/>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3" name="Plassholder for tekst 2">
            <a:extLst>
              <a:ext uri="{FF2B5EF4-FFF2-40B4-BE49-F238E27FC236}">
                <a16:creationId xmlns:a16="http://schemas.microsoft.com/office/drawing/2014/main" id="{2ECFA8D1-88B1-4EA1-8DF8-31EEC202C2DA}"/>
              </a:ext>
            </a:extLst>
          </p:cNvPr>
          <p:cNvSpPr>
            <a:spLocks noGrp="1"/>
          </p:cNvSpPr>
          <p:nvPr>
            <p:ph type="body" sz="quarter" idx="14"/>
          </p:nvPr>
        </p:nvSpPr>
        <p:spPr>
          <a:xfrm>
            <a:off x="2167220" y="3088539"/>
            <a:ext cx="3694641" cy="936117"/>
          </a:xfrm>
        </p:spPr>
        <p:txBody>
          <a:bodyPr lIns="0" tIns="0" rIns="0" bIns="0">
            <a:normAutofit/>
          </a:bodyPr>
          <a:lstStyle>
            <a:lvl1pPr marL="0" indent="0" algn="ctr">
              <a:lnSpc>
                <a:spcPct val="88000"/>
              </a:lnSpc>
              <a:buNone/>
              <a:defRPr sz="3000" b="1">
                <a:latin typeface="Calibri" panose="020F0502020204030204" pitchFamily="34" charset="0"/>
                <a:cs typeface="Calibri" panose="020F0502020204030204" pitchFamily="34" charset="0"/>
              </a:defRPr>
            </a:lvl1pPr>
          </a:lstStyle>
          <a:p>
            <a:pPr lvl="0"/>
            <a:r>
              <a:rPr lang="en-US"/>
              <a:t>Edit Master text styles</a:t>
            </a:r>
          </a:p>
        </p:txBody>
      </p:sp>
      <p:pic>
        <p:nvPicPr>
          <p:cNvPr id="8" name="Bilde 7" descr="Et bilde som inneholder objekt&#10;&#10;Beskrivelse som er generert med høy visshet">
            <a:extLst>
              <a:ext uri="{FF2B5EF4-FFF2-40B4-BE49-F238E27FC236}">
                <a16:creationId xmlns:a16="http://schemas.microsoft.com/office/drawing/2014/main" id="{34B1349E-E4A1-42B1-A0CE-396BABCDE01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4518514"/>
            <a:ext cx="12192000" cy="2339486"/>
          </a:xfrm>
          <a:prstGeom prst="rect">
            <a:avLst/>
          </a:prstGeom>
        </p:spPr>
      </p:pic>
      <p:sp>
        <p:nvSpPr>
          <p:cNvPr id="9" name="TekstSylinder 8">
            <a:extLst>
              <a:ext uri="{FF2B5EF4-FFF2-40B4-BE49-F238E27FC236}">
                <a16:creationId xmlns:a16="http://schemas.microsoft.com/office/drawing/2014/main" id="{CB1AA9BC-6253-40E9-9060-0670BA209B90}"/>
              </a:ext>
            </a:extLst>
          </p:cNvPr>
          <p:cNvSpPr txBox="1"/>
          <p:nvPr userDrawn="1"/>
        </p:nvSpPr>
        <p:spPr>
          <a:xfrm>
            <a:off x="3886200" y="6354000"/>
            <a:ext cx="4419602" cy="230832"/>
          </a:xfrm>
          <a:prstGeom prst="rect">
            <a:avLst/>
          </a:prstGeom>
          <a:noFill/>
        </p:spPr>
        <p:txBody>
          <a:bodyPr wrap="square" rtlCol="0">
            <a:spAutoFit/>
          </a:bodyPr>
          <a:lstStyle/>
          <a:p>
            <a:pPr algn="ctr"/>
            <a:r>
              <a:rPr lang="en-GB" sz="900"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dirty="0">
              <a:solidFill>
                <a:srgbClr val="99999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0717505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ign off slide, white - 3">
    <p:bg>
      <p:bgPr>
        <a:solidFill>
          <a:schemeClr val="bg1"/>
        </a:solidFill>
        <a:effectLst/>
      </p:bgPr>
    </p:bg>
    <p:spTree>
      <p:nvGrpSpPr>
        <p:cNvPr id="1" name=""/>
        <p:cNvGrpSpPr/>
        <p:nvPr/>
      </p:nvGrpSpPr>
      <p:grpSpPr>
        <a:xfrm>
          <a:off x="0" y="0"/>
          <a:ext cx="0" cy="0"/>
          <a:chOff x="0" y="0"/>
          <a:chExt cx="0" cy="0"/>
        </a:xfrm>
      </p:grpSpPr>
      <p:pic>
        <p:nvPicPr>
          <p:cNvPr id="8" name="Bilde 7" descr="Et bilde som inneholder innendørs&#10;&#10;Beskrivelse som er generert med høy visshet">
            <a:extLst>
              <a:ext uri="{FF2B5EF4-FFF2-40B4-BE49-F238E27FC236}">
                <a16:creationId xmlns:a16="http://schemas.microsoft.com/office/drawing/2014/main" id="{BE7280AD-5123-4622-8EFF-28039FE6133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7882" b="11843"/>
          <a:stretch/>
        </p:blipFill>
        <p:spPr>
          <a:xfrm rot="10800000">
            <a:off x="-4" y="750652"/>
            <a:ext cx="12192001" cy="5354904"/>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1253758"/>
            <a:ext cx="4377307" cy="4380778"/>
          </a:xfrm>
          <a:solidFill>
            <a:schemeClr val="bg1"/>
          </a:solidFill>
        </p:spPr>
        <p:txBody>
          <a:bodyPr bIns="1432800" anchor="b" anchorCtr="0"/>
          <a:lstStyle>
            <a:lvl1pPr marL="0" indent="0" algn="ctr">
              <a:lnSpc>
                <a:spcPct val="120000"/>
              </a:lnSpc>
              <a:spcBef>
                <a:spcPts val="0"/>
              </a:spcBef>
              <a:buNone/>
              <a:defRPr sz="1400">
                <a:solidFill>
                  <a:srgbClr val="737B92"/>
                </a:solidFill>
                <a:latin typeface="Calibri" panose="020F0502020204030204" pitchFamily="34" charset="0"/>
                <a:cs typeface="Calibri" panose="020F0502020204030204" pitchFamily="34" charset="0"/>
              </a:defRPr>
            </a:lvl1pPr>
          </a:lstStyle>
          <a:p>
            <a:pPr lvl="0"/>
            <a:r>
              <a:rPr lang="en-GB"/>
              <a:t>Click to enter e-mail</a:t>
            </a:r>
          </a:p>
        </p:txBody>
      </p:sp>
      <p:sp>
        <p:nvSpPr>
          <p:cNvPr id="17" name="Plassholder for tekst 16">
            <a:extLst>
              <a:ext uri="{FF2B5EF4-FFF2-40B4-BE49-F238E27FC236}">
                <a16:creationId xmlns:a16="http://schemas.microsoft.com/office/drawing/2014/main" id="{0C8889AD-DC82-4F54-A1BF-028A74664369}"/>
              </a:ext>
            </a:extLst>
          </p:cNvPr>
          <p:cNvSpPr>
            <a:spLocks noGrp="1"/>
          </p:cNvSpPr>
          <p:nvPr>
            <p:ph type="body" sz="quarter" idx="13" hasCustomPrompt="1"/>
          </p:nvPr>
        </p:nvSpPr>
        <p:spPr>
          <a:xfrm>
            <a:off x="3599529" y="1660312"/>
            <a:ext cx="826117" cy="829153"/>
          </a:xfrm>
          <a:prstGeom prst="rect">
            <a:avLst/>
          </a:prstGeom>
          <a:blipFill>
            <a:blip r:embed="rId3"/>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3" name="Plassholder for tekst 2">
            <a:extLst>
              <a:ext uri="{FF2B5EF4-FFF2-40B4-BE49-F238E27FC236}">
                <a16:creationId xmlns:a16="http://schemas.microsoft.com/office/drawing/2014/main" id="{2ECFA8D1-88B1-4EA1-8DF8-31EEC202C2DA}"/>
              </a:ext>
            </a:extLst>
          </p:cNvPr>
          <p:cNvSpPr>
            <a:spLocks noGrp="1"/>
          </p:cNvSpPr>
          <p:nvPr>
            <p:ph type="body" sz="quarter" idx="14"/>
          </p:nvPr>
        </p:nvSpPr>
        <p:spPr>
          <a:xfrm>
            <a:off x="2167220" y="3088539"/>
            <a:ext cx="3694641" cy="936117"/>
          </a:xfrm>
        </p:spPr>
        <p:txBody>
          <a:bodyPr lIns="0" tIns="0" rIns="0" bIns="0">
            <a:normAutofit/>
          </a:bodyPr>
          <a:lstStyle>
            <a:lvl1pPr marL="0" indent="0" algn="ctr">
              <a:lnSpc>
                <a:spcPct val="88000"/>
              </a:lnSpc>
              <a:buNone/>
              <a:defRPr sz="3000" b="1">
                <a:latin typeface="Calibri" panose="020F0502020204030204" pitchFamily="34" charset="0"/>
                <a:cs typeface="Calibri" panose="020F0502020204030204" pitchFamily="34" charset="0"/>
              </a:defRPr>
            </a:lvl1pPr>
          </a:lstStyle>
          <a:p>
            <a:pPr lvl="0"/>
            <a:r>
              <a:rPr lang="en-US"/>
              <a:t>Edit Master text styles</a:t>
            </a:r>
          </a:p>
        </p:txBody>
      </p:sp>
      <p:pic>
        <p:nvPicPr>
          <p:cNvPr id="9" name="Bilde 8" descr="Et bilde som inneholder objekt&#10;&#10;Beskrivelse som er generert med høy visshet">
            <a:extLst>
              <a:ext uri="{FF2B5EF4-FFF2-40B4-BE49-F238E27FC236}">
                <a16:creationId xmlns:a16="http://schemas.microsoft.com/office/drawing/2014/main" id="{81FC6E1B-D100-4399-AC39-4026CB12335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4518514"/>
            <a:ext cx="12192000" cy="2339486"/>
          </a:xfrm>
          <a:prstGeom prst="rect">
            <a:avLst/>
          </a:prstGeom>
        </p:spPr>
      </p:pic>
      <p:sp>
        <p:nvSpPr>
          <p:cNvPr id="10" name="TekstSylinder 9">
            <a:extLst>
              <a:ext uri="{FF2B5EF4-FFF2-40B4-BE49-F238E27FC236}">
                <a16:creationId xmlns:a16="http://schemas.microsoft.com/office/drawing/2014/main" id="{281B287A-AC59-4665-B283-98A49179E06F}"/>
              </a:ext>
            </a:extLst>
          </p:cNvPr>
          <p:cNvSpPr txBox="1"/>
          <p:nvPr userDrawn="1"/>
        </p:nvSpPr>
        <p:spPr>
          <a:xfrm>
            <a:off x="3886200" y="6354000"/>
            <a:ext cx="4419602" cy="230832"/>
          </a:xfrm>
          <a:prstGeom prst="rect">
            <a:avLst/>
          </a:prstGeom>
          <a:noFill/>
        </p:spPr>
        <p:txBody>
          <a:bodyPr wrap="square" rtlCol="0">
            <a:spAutoFit/>
          </a:bodyPr>
          <a:lstStyle/>
          <a:p>
            <a:pPr algn="ctr"/>
            <a:r>
              <a:rPr lang="en-GB" sz="900"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dirty="0">
              <a:solidFill>
                <a:srgbClr val="99999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766474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ign off slide, blue - 1">
    <p:bg>
      <p:bgPr>
        <a:solidFill>
          <a:schemeClr val="accent1"/>
        </a:solidFill>
        <a:effectLst/>
      </p:bgPr>
    </p:bg>
    <p:spTree>
      <p:nvGrpSpPr>
        <p:cNvPr id="1" name=""/>
        <p:cNvGrpSpPr/>
        <p:nvPr/>
      </p:nvGrpSpPr>
      <p:grpSpPr>
        <a:xfrm>
          <a:off x="0" y="0"/>
          <a:ext cx="0" cy="0"/>
          <a:chOff x="0" y="0"/>
          <a:chExt cx="0" cy="0"/>
        </a:xfrm>
      </p:grpSpPr>
      <p:pic>
        <p:nvPicPr>
          <p:cNvPr id="9" name="Bilde 8">
            <a:extLst>
              <a:ext uri="{FF2B5EF4-FFF2-40B4-BE49-F238E27FC236}">
                <a16:creationId xmlns:a16="http://schemas.microsoft.com/office/drawing/2014/main" id="{40F45845-D725-4EC4-8F06-2817D4AC6F1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5054" b="25712"/>
          <a:stretch/>
        </p:blipFill>
        <p:spPr>
          <a:xfrm>
            <a:off x="0" y="750655"/>
            <a:ext cx="12192000" cy="5412734"/>
          </a:xfrm>
          <a:prstGeom prst="rect">
            <a:avLst/>
          </a:prstGeom>
        </p:spPr>
      </p:pic>
      <p:sp>
        <p:nvSpPr>
          <p:cNvPr id="11" name="Plassholder for tekst 10">
            <a:extLst>
              <a:ext uri="{FF2B5EF4-FFF2-40B4-BE49-F238E27FC236}">
                <a16:creationId xmlns:a16="http://schemas.microsoft.com/office/drawing/2014/main" id="{513C89F0-E15A-4371-9370-288DBE8E17E5}"/>
              </a:ext>
            </a:extLst>
          </p:cNvPr>
          <p:cNvSpPr>
            <a:spLocks noGrp="1"/>
          </p:cNvSpPr>
          <p:nvPr>
            <p:ph type="body" sz="quarter" idx="11" hasCustomPrompt="1"/>
          </p:nvPr>
        </p:nvSpPr>
        <p:spPr>
          <a:xfrm>
            <a:off x="1819512" y="1253758"/>
            <a:ext cx="4377307" cy="4380778"/>
          </a:xfrm>
          <a:solidFill>
            <a:srgbClr val="001639"/>
          </a:solidFill>
        </p:spPr>
        <p:txBody>
          <a:bodyPr bIns="1432800" anchor="b" anchorCtr="0"/>
          <a:lstStyle>
            <a:lvl1pPr marL="0" indent="0" algn="ctr">
              <a:lnSpc>
                <a:spcPct val="120000"/>
              </a:lnSpc>
              <a:spcBef>
                <a:spcPts val="0"/>
              </a:spcBef>
              <a:buNone/>
              <a:defRPr sz="1400">
                <a:solidFill>
                  <a:schemeClr val="accent2"/>
                </a:solidFill>
                <a:latin typeface="Calibri" panose="020F0502020204030204" pitchFamily="34" charset="0"/>
                <a:cs typeface="Calibri" panose="020F0502020204030204" pitchFamily="34" charset="0"/>
              </a:defRPr>
            </a:lvl1pPr>
          </a:lstStyle>
          <a:p>
            <a:pPr lvl="0"/>
            <a:r>
              <a:rPr lang="en-GB"/>
              <a:t>Click to enter e-mail</a:t>
            </a:r>
          </a:p>
        </p:txBody>
      </p:sp>
      <p:sp>
        <p:nvSpPr>
          <p:cNvPr id="6" name="Plassholder for tekst 4">
            <a:extLst>
              <a:ext uri="{FF2B5EF4-FFF2-40B4-BE49-F238E27FC236}">
                <a16:creationId xmlns:a16="http://schemas.microsoft.com/office/drawing/2014/main" id="{5BC55F1A-79D7-4966-9AE7-8CD8E7DBB9FA}"/>
              </a:ext>
            </a:extLst>
          </p:cNvPr>
          <p:cNvSpPr>
            <a:spLocks noGrp="1"/>
          </p:cNvSpPr>
          <p:nvPr>
            <p:ph type="body" sz="quarter" idx="14" hasCustomPrompt="1"/>
          </p:nvPr>
        </p:nvSpPr>
        <p:spPr>
          <a:xfrm>
            <a:off x="3599529" y="1660312"/>
            <a:ext cx="826117" cy="829153"/>
          </a:xfrm>
          <a:prstGeom prst="rect">
            <a:avLst/>
          </a:prstGeom>
          <a:blipFill>
            <a:blip r:embed="rId3"/>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endParaRPr lang="en-GB"/>
          </a:p>
        </p:txBody>
      </p:sp>
      <p:sp>
        <p:nvSpPr>
          <p:cNvPr id="10" name="Plassholder for tekst 2">
            <a:extLst>
              <a:ext uri="{FF2B5EF4-FFF2-40B4-BE49-F238E27FC236}">
                <a16:creationId xmlns:a16="http://schemas.microsoft.com/office/drawing/2014/main" id="{4332AE87-5AB2-4F78-8821-4425717E5309}"/>
              </a:ext>
            </a:extLst>
          </p:cNvPr>
          <p:cNvSpPr>
            <a:spLocks noGrp="1"/>
          </p:cNvSpPr>
          <p:nvPr>
            <p:ph type="body" sz="quarter" idx="15"/>
          </p:nvPr>
        </p:nvSpPr>
        <p:spPr>
          <a:xfrm>
            <a:off x="2167220" y="3088539"/>
            <a:ext cx="3694641" cy="936117"/>
          </a:xfrm>
        </p:spPr>
        <p:txBody>
          <a:bodyPr lIns="0" tIns="0" rIns="0" bIns="0">
            <a:normAutofit/>
          </a:bodyPr>
          <a:lstStyle>
            <a:lvl1pPr marL="0" indent="0" algn="ctr">
              <a:lnSpc>
                <a:spcPct val="88000"/>
              </a:lnSpc>
              <a:buNone/>
              <a:defRPr sz="3000" b="1">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pic>
        <p:nvPicPr>
          <p:cNvPr id="8" name="Bilde 7" descr="Et bilde som inneholder kuppel, svart, bygning, innendørs&#10;&#10;Beskrivelse som er generert med svært høy visshet">
            <a:extLst>
              <a:ext uri="{FF2B5EF4-FFF2-40B4-BE49-F238E27FC236}">
                <a16:creationId xmlns:a16="http://schemas.microsoft.com/office/drawing/2014/main" id="{2F80301C-655D-4869-BA85-F7C3A156ED2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96000" y="4683600"/>
            <a:ext cx="1141689" cy="1141689"/>
          </a:xfrm>
          <a:prstGeom prst="rect">
            <a:avLst/>
          </a:prstGeom>
        </p:spPr>
      </p:pic>
      <p:pic>
        <p:nvPicPr>
          <p:cNvPr id="12" name="Bilde 11" descr="Et bilde som inneholder innendørs&#10;&#10;Beskrivelse som er generert med høy visshet">
            <a:extLst>
              <a:ext uri="{FF2B5EF4-FFF2-40B4-BE49-F238E27FC236}">
                <a16:creationId xmlns:a16="http://schemas.microsoft.com/office/drawing/2014/main" id="{AAB683DD-B3E3-4630-B1F0-0572EA06E8F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483404" y="4683239"/>
            <a:ext cx="5412350" cy="1142049"/>
          </a:xfrm>
          <a:prstGeom prst="rect">
            <a:avLst/>
          </a:prstGeom>
        </p:spPr>
      </p:pic>
      <p:sp>
        <p:nvSpPr>
          <p:cNvPr id="13" name="TekstSylinder 12">
            <a:extLst>
              <a:ext uri="{FF2B5EF4-FFF2-40B4-BE49-F238E27FC236}">
                <a16:creationId xmlns:a16="http://schemas.microsoft.com/office/drawing/2014/main" id="{A7A9935A-9CC4-4BB4-A364-107B2BE1ACAF}"/>
              </a:ext>
            </a:extLst>
          </p:cNvPr>
          <p:cNvSpPr txBox="1"/>
          <p:nvPr userDrawn="1"/>
        </p:nvSpPr>
        <p:spPr>
          <a:xfrm>
            <a:off x="3886200" y="6354000"/>
            <a:ext cx="4419602" cy="230832"/>
          </a:xfrm>
          <a:prstGeom prst="rect">
            <a:avLst/>
          </a:prstGeom>
          <a:noFill/>
        </p:spPr>
        <p:txBody>
          <a:bodyPr wrap="square" rtlCol="0">
            <a:spAutoFit/>
          </a:bodyPr>
          <a:lstStyle/>
          <a:p>
            <a:pPr algn="ctr"/>
            <a:r>
              <a:rPr lang="en-GB" sz="900"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dirty="0">
              <a:solidFill>
                <a:srgbClr val="99999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3775954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png"/><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TekstSylinder 13">
            <a:extLst>
              <a:ext uri="{FF2B5EF4-FFF2-40B4-BE49-F238E27FC236}">
                <a16:creationId xmlns:a16="http://schemas.microsoft.com/office/drawing/2014/main" id="{ED83C451-90F5-4EE9-8D8B-0987CCF95699}"/>
              </a:ext>
            </a:extLst>
          </p:cNvPr>
          <p:cNvSpPr txBox="1"/>
          <p:nvPr userDrawn="1"/>
        </p:nvSpPr>
        <p:spPr>
          <a:xfrm>
            <a:off x="3886200" y="6354000"/>
            <a:ext cx="4419602" cy="230832"/>
          </a:xfrm>
          <a:prstGeom prst="rect">
            <a:avLst/>
          </a:prstGeom>
          <a:noFill/>
        </p:spPr>
        <p:txBody>
          <a:bodyPr wrap="square" rtlCol="0">
            <a:spAutoFit/>
          </a:bodyPr>
          <a:lstStyle/>
          <a:p>
            <a:pPr algn="ctr"/>
            <a:r>
              <a:rPr lang="en-GB" sz="900" b="0" dirty="0">
                <a:solidFill>
                  <a:srgbClr val="999999"/>
                </a:solidFill>
                <a:latin typeface="Calibri" panose="020F0502020204030204" pitchFamily="34" charset="0"/>
                <a:cs typeface="Calibri" panose="020F0502020204030204" pitchFamily="34" charset="0"/>
              </a:rPr>
              <a:t>KONGSBERG PROPRIETARY  - See Statement of Proprietary information</a:t>
            </a:r>
            <a:endParaRPr lang="en-GB" sz="900" b="0" noProof="0" dirty="0">
              <a:solidFill>
                <a:srgbClr val="999999"/>
              </a:solidFill>
              <a:latin typeface="Calibri" panose="020F0502020204030204" pitchFamily="34" charset="0"/>
              <a:cs typeface="Calibri" panose="020F0502020204030204" pitchFamily="34" charset="0"/>
            </a:endParaRPr>
          </a:p>
        </p:txBody>
      </p:sp>
      <p:sp>
        <p:nvSpPr>
          <p:cNvPr id="2" name="Title Placeholder 1"/>
          <p:cNvSpPr>
            <a:spLocks noGrp="1"/>
          </p:cNvSpPr>
          <p:nvPr>
            <p:ph type="title"/>
          </p:nvPr>
        </p:nvSpPr>
        <p:spPr>
          <a:xfrm>
            <a:off x="2034805" y="691698"/>
            <a:ext cx="8106895" cy="507960"/>
          </a:xfrm>
          <a:prstGeom prst="rect">
            <a:avLst/>
          </a:prstGeom>
        </p:spPr>
        <p:txBody>
          <a:bodyPr vert="horz" wrap="square" lIns="0" tIns="45720" rIns="0" bIns="45720" rtlCol="0" anchor="t" anchorCtr="0">
            <a:spAutoFit/>
          </a:bodyPr>
          <a:lstStyle/>
          <a:p>
            <a:r>
              <a:rPr lang="en-GB" noProof="0"/>
              <a:t>Title Calibri Bold 60 </a:t>
            </a:r>
            <a:r>
              <a:rPr lang="en-GB" noProof="0" err="1"/>
              <a:t>pt</a:t>
            </a:r>
            <a:endParaRPr lang="en-GB" noProof="0"/>
          </a:p>
        </p:txBody>
      </p:sp>
      <p:sp>
        <p:nvSpPr>
          <p:cNvPr id="3" name="Text Placeholder 2"/>
          <p:cNvSpPr>
            <a:spLocks noGrp="1"/>
          </p:cNvSpPr>
          <p:nvPr>
            <p:ph type="body" idx="1"/>
          </p:nvPr>
        </p:nvSpPr>
        <p:spPr>
          <a:xfrm>
            <a:off x="2034805" y="2103364"/>
            <a:ext cx="8106895" cy="4000963"/>
          </a:xfrm>
          <a:prstGeom prst="rect">
            <a:avLst/>
          </a:prstGeom>
          <a:noFill/>
        </p:spPr>
        <p:txBody>
          <a:bodyPr vert="horz" lIns="0" tIns="0" rIns="0" bIns="0" rtlCol="0">
            <a:noAutofit/>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2"/>
          </p:nvPr>
        </p:nvSpPr>
        <p:spPr>
          <a:xfrm>
            <a:off x="575374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B0F6B1-74AA-489E-B715-68BD370133BF}" type="datetime1">
              <a:rPr lang="en-GB" smtClean="0"/>
              <a:t>06/06/2022</a:t>
            </a:fld>
            <a:endParaRPr lang="nb-NO"/>
          </a:p>
        </p:txBody>
      </p:sp>
      <p:sp>
        <p:nvSpPr>
          <p:cNvPr id="6" name="Slide Number Placeholder 5"/>
          <p:cNvSpPr>
            <a:spLocks noGrp="1"/>
          </p:cNvSpPr>
          <p:nvPr>
            <p:ph type="sldNum" sz="quarter" idx="4"/>
          </p:nvPr>
        </p:nvSpPr>
        <p:spPr>
          <a:xfrm>
            <a:off x="10840861" y="6288359"/>
            <a:ext cx="761921" cy="365125"/>
          </a:xfrm>
          <a:prstGeom prst="rect">
            <a:avLst/>
          </a:prstGeom>
        </p:spPr>
        <p:txBody>
          <a:bodyPr vert="horz" lIns="91440" tIns="45720" rIns="91440" bIns="45720" rtlCol="0" anchor="ctr"/>
          <a:lstStyle>
            <a:lvl1pPr algn="r">
              <a:defRPr sz="900" b="1">
                <a:solidFill>
                  <a:srgbClr val="999999"/>
                </a:solidFill>
                <a:latin typeface="Calibri" panose="020F0502020204030204" pitchFamily="34" charset="0"/>
                <a:cs typeface="Calibri" panose="020F0502020204030204" pitchFamily="34" charset="0"/>
              </a:defRPr>
            </a:lvl1pPr>
          </a:lstStyle>
          <a:p>
            <a:fld id="{7A3F00B2-786C-401B-9EB3-42A9D0DD4A9F}" type="slidenum">
              <a:rPr lang="nb-NO" smtClean="0"/>
              <a:pPr/>
              <a:t>‹#›</a:t>
            </a:fld>
            <a:endParaRPr lang="nb-NO"/>
          </a:p>
        </p:txBody>
      </p:sp>
      <p:sp>
        <p:nvSpPr>
          <p:cNvPr id="5" name="TekstSylinder 4">
            <a:extLst>
              <a:ext uri="{FF2B5EF4-FFF2-40B4-BE49-F238E27FC236}">
                <a16:creationId xmlns:a16="http://schemas.microsoft.com/office/drawing/2014/main" id="{0BD83E9C-EA9A-4737-9AD1-7242CA5A8727}"/>
              </a:ext>
            </a:extLst>
          </p:cNvPr>
          <p:cNvSpPr txBox="1"/>
          <p:nvPr userDrawn="1"/>
        </p:nvSpPr>
        <p:spPr>
          <a:xfrm>
            <a:off x="550320" y="6352548"/>
            <a:ext cx="3104148" cy="230832"/>
          </a:xfrm>
          <a:prstGeom prst="rect">
            <a:avLst/>
          </a:prstGeom>
          <a:noFill/>
        </p:spPr>
        <p:txBody>
          <a:bodyPr wrap="square" rtlCol="0">
            <a:spAutoFit/>
          </a:bodyPr>
          <a:lstStyle/>
          <a:p>
            <a:r>
              <a:rPr lang="en-GB" sz="900" dirty="0">
                <a:solidFill>
                  <a:srgbClr val="081839"/>
                </a:solidFill>
                <a:latin typeface="Calibri" panose="020F0502020204030204" pitchFamily="34" charset="0"/>
                <a:cs typeface="Calibri" panose="020F0502020204030204" pitchFamily="34" charset="0"/>
              </a:rPr>
              <a:t>WORLD CLASS  –  Through </a:t>
            </a:r>
            <a:r>
              <a:rPr lang="en-GB" sz="900" dirty="0">
                <a:solidFill>
                  <a:srgbClr val="001639"/>
                </a:solidFill>
                <a:latin typeface="Calibri" panose="020F0502020204030204" pitchFamily="34" charset="0"/>
                <a:cs typeface="Calibri" panose="020F0502020204030204" pitchFamily="34" charset="0"/>
              </a:rPr>
              <a:t>people</a:t>
            </a:r>
            <a:r>
              <a:rPr lang="en-GB" sz="900" dirty="0">
                <a:solidFill>
                  <a:srgbClr val="081839"/>
                </a:solidFill>
                <a:latin typeface="Calibri" panose="020F0502020204030204" pitchFamily="34" charset="0"/>
                <a:cs typeface="Calibri" panose="020F0502020204030204" pitchFamily="34" charset="0"/>
              </a:rPr>
              <a:t>, technology and dedication</a:t>
            </a:r>
            <a:endParaRPr lang="nb-NO" sz="900">
              <a:solidFill>
                <a:srgbClr val="081839"/>
              </a:solidFill>
              <a:latin typeface="Calibri" panose="020F0502020204030204" pitchFamily="34" charset="0"/>
              <a:cs typeface="Calibri" panose="020F0502020204030204" pitchFamily="34" charset="0"/>
            </a:endParaRPr>
          </a:p>
        </p:txBody>
      </p:sp>
      <p:pic>
        <p:nvPicPr>
          <p:cNvPr id="13" name="Bilde 12">
            <a:extLst>
              <a:ext uri="{FF2B5EF4-FFF2-40B4-BE49-F238E27FC236}">
                <a16:creationId xmlns:a16="http://schemas.microsoft.com/office/drawing/2014/main" id="{2FBD1D31-9110-4B80-B57D-E73959972BC0}"/>
              </a:ext>
            </a:extLst>
          </p:cNvPr>
          <p:cNvPicPr>
            <a:picLocks noChangeAspect="1"/>
          </p:cNvPicPr>
          <p:nvPr userDrawn="1"/>
        </p:nvPicPr>
        <p:blipFill>
          <a:blip r:embed="rId39">
            <a:extLst>
              <a:ext uri="{28A0092B-C50C-407E-A947-70E740481C1C}">
                <a14:useLocalDpi xmlns:a14="http://schemas.microsoft.com/office/drawing/2010/main" val="0"/>
              </a:ext>
            </a:extLst>
          </a:blip>
          <a:stretch>
            <a:fillRect/>
          </a:stretch>
        </p:blipFill>
        <p:spPr>
          <a:xfrm>
            <a:off x="634453" y="749806"/>
            <a:ext cx="638558" cy="640844"/>
          </a:xfrm>
          <a:prstGeom prst="rect">
            <a:avLst/>
          </a:prstGeom>
        </p:spPr>
      </p:pic>
    </p:spTree>
    <p:extLst>
      <p:ext uri="{BB962C8B-B14F-4D97-AF65-F5344CB8AC3E}">
        <p14:creationId xmlns:p14="http://schemas.microsoft.com/office/powerpoint/2010/main" val="125136876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8" r:id="rId35"/>
    <p:sldLayoutId id="2147483700" r:id="rId36"/>
    <p:sldLayoutId id="2147483701" r:id="rId37"/>
  </p:sldLayoutIdLst>
  <p:hf hdr="0" ftr="0"/>
  <p:txStyles>
    <p:titleStyle>
      <a:lvl1pPr algn="ctr" defTabSz="914446" rtl="0" eaLnBrk="1" latinLnBrk="0" hangingPunct="1">
        <a:lnSpc>
          <a:spcPct val="90000"/>
        </a:lnSpc>
        <a:spcBef>
          <a:spcPct val="0"/>
        </a:spcBef>
        <a:buNone/>
        <a:defRPr sz="3001" b="1" kern="1200">
          <a:solidFill>
            <a:srgbClr val="001639"/>
          </a:solidFill>
          <a:latin typeface="Calibri" panose="020F0502020204030204" pitchFamily="34" charset="0"/>
          <a:ea typeface="+mj-ea"/>
          <a:cs typeface="Calibri" panose="020F0502020204030204" pitchFamily="34" charset="0"/>
        </a:defRPr>
      </a:lvl1pPr>
    </p:titleStyle>
    <p:bodyStyle>
      <a:lvl1pPr marL="198040" indent="-198040" algn="l" defTabSz="914446" rtl="0" eaLnBrk="1" latinLnBrk="0" hangingPunct="1">
        <a:lnSpc>
          <a:spcPct val="100000"/>
        </a:lnSpc>
        <a:spcBef>
          <a:spcPts val="500"/>
        </a:spcBef>
        <a:buSzPct val="100000"/>
        <a:buFont typeface="Wingdings" panose="05000000000000000000" pitchFamily="2" charset="2"/>
        <a:buChar char="§"/>
        <a:defRPr sz="1600" kern="1200">
          <a:solidFill>
            <a:srgbClr val="001639"/>
          </a:solidFill>
          <a:latin typeface="+mn-lt"/>
          <a:ea typeface="+mn-ea"/>
          <a:cs typeface="+mn-cs"/>
        </a:defRPr>
      </a:lvl1pPr>
      <a:lvl2pPr marL="395367" indent="-166721" algn="l" defTabSz="914446" rtl="0" eaLnBrk="1" latinLnBrk="0" hangingPunct="1">
        <a:lnSpc>
          <a:spcPct val="100000"/>
        </a:lnSpc>
        <a:spcBef>
          <a:spcPts val="500"/>
        </a:spcBef>
        <a:buSzPct val="100000"/>
        <a:buFont typeface="Calibri" panose="020F0502020204030204" pitchFamily="34" charset="0"/>
        <a:buChar char="‒"/>
        <a:defRPr sz="1500" kern="1200">
          <a:solidFill>
            <a:srgbClr val="001639"/>
          </a:solidFill>
          <a:latin typeface="+mn-lt"/>
          <a:ea typeface="+mn-ea"/>
          <a:cs typeface="+mn-cs"/>
        </a:defRPr>
      </a:lvl2pPr>
      <a:lvl3pPr marL="594119" indent="-198040" algn="l" defTabSz="914446" rtl="0" eaLnBrk="1" latinLnBrk="0" hangingPunct="1">
        <a:lnSpc>
          <a:spcPct val="100000"/>
        </a:lnSpc>
        <a:spcBef>
          <a:spcPts val="500"/>
        </a:spcBef>
        <a:buSzPct val="100000"/>
        <a:buFont typeface="Calibri" panose="020F0502020204030204" pitchFamily="34" charset="0"/>
        <a:buChar char="‒"/>
        <a:defRPr sz="1400" kern="1200">
          <a:solidFill>
            <a:srgbClr val="001639"/>
          </a:solidFill>
          <a:latin typeface="+mn-lt"/>
          <a:ea typeface="+mn-ea"/>
          <a:cs typeface="+mn-cs"/>
        </a:defRPr>
      </a:lvl3pPr>
      <a:lvl4pPr marL="792158" indent="-198040" algn="l" defTabSz="914446" rtl="0" eaLnBrk="1" latinLnBrk="0" hangingPunct="1">
        <a:lnSpc>
          <a:spcPct val="100000"/>
        </a:lnSpc>
        <a:spcBef>
          <a:spcPts val="500"/>
        </a:spcBef>
        <a:buSzPct val="100000"/>
        <a:buFont typeface="Calibri" panose="020F0502020204030204" pitchFamily="34" charset="0"/>
        <a:buChar char="‒"/>
        <a:defRPr sz="1300" kern="1200">
          <a:solidFill>
            <a:srgbClr val="001639"/>
          </a:solidFill>
          <a:latin typeface="+mn-lt"/>
          <a:ea typeface="+mn-ea"/>
          <a:cs typeface="+mn-cs"/>
        </a:defRPr>
      </a:lvl4pPr>
      <a:lvl5pPr marL="990198" indent="-198040" algn="l" defTabSz="914446" rtl="0" eaLnBrk="1" latinLnBrk="0" hangingPunct="1">
        <a:lnSpc>
          <a:spcPct val="100000"/>
        </a:lnSpc>
        <a:spcBef>
          <a:spcPts val="500"/>
        </a:spcBef>
        <a:buSzPct val="100000"/>
        <a:buFont typeface="Calibri" panose="020F0502020204030204" pitchFamily="34" charset="0"/>
        <a:buChar char="‒"/>
        <a:defRPr sz="1200" kern="1200">
          <a:solidFill>
            <a:srgbClr val="001639"/>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12.xml"/><Relationship Id="rId5" Type="http://schemas.openxmlformats.org/officeDocument/2006/relationships/image" Target="../media/image42.png"/><Relationship Id="rId4" Type="http://schemas.openxmlformats.org/officeDocument/2006/relationships/image" Target="../media/image41.png"/></Relationships>
</file>

<file path=ppt/slides/_rels/slide1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1.xml"/><Relationship Id="rId1" Type="http://schemas.openxmlformats.org/officeDocument/2006/relationships/slideLayout" Target="../slideLayouts/slideLayout12.xml"/><Relationship Id="rId5" Type="http://schemas.openxmlformats.org/officeDocument/2006/relationships/image" Target="../media/image42.png"/><Relationship Id="rId4" Type="http://schemas.openxmlformats.org/officeDocument/2006/relationships/image" Target="../media/image41.png"/></Relationships>
</file>

<file path=ppt/slides/_rels/slide1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12.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4.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12.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5.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12.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6.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16.xml"/><Relationship Id="rId1" Type="http://schemas.openxmlformats.org/officeDocument/2006/relationships/slideLayout" Target="../slideLayouts/slideLayout34.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 Id="rId9" Type="http://schemas.openxmlformats.org/officeDocument/2006/relationships/image" Target="../media/image51.png"/></Relationships>
</file>

<file path=ppt/slides/_rels/slide1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32.png"/><Relationship Id="rId7" Type="http://schemas.openxmlformats.org/officeDocument/2006/relationships/image" Target="../media/image53.png"/><Relationship Id="rId12" Type="http://schemas.openxmlformats.org/officeDocument/2006/relationships/image" Target="../media/image55.png"/><Relationship Id="rId2" Type="http://schemas.openxmlformats.org/officeDocument/2006/relationships/notesSlide" Target="../notesSlides/notesSlide17.xml"/><Relationship Id="rId1" Type="http://schemas.openxmlformats.org/officeDocument/2006/relationships/slideLayout" Target="../slideLayouts/slideLayout12.xml"/><Relationship Id="rId6" Type="http://schemas.openxmlformats.org/officeDocument/2006/relationships/image" Target="../media/image52.png"/><Relationship Id="rId11" Type="http://schemas.openxmlformats.org/officeDocument/2006/relationships/image" Target="../media/image41.png"/><Relationship Id="rId5" Type="http://schemas.openxmlformats.org/officeDocument/2006/relationships/image" Target="../media/image33.png"/><Relationship Id="rId10" Type="http://schemas.openxmlformats.org/officeDocument/2006/relationships/image" Target="../media/image54.png"/><Relationship Id="rId4" Type="http://schemas.openxmlformats.org/officeDocument/2006/relationships/image" Target="../media/image25.png"/><Relationship Id="rId9" Type="http://schemas.openxmlformats.org/officeDocument/2006/relationships/image" Target="../media/image49.png"/></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image" Target="../media/image26.png"/><Relationship Id="rId5" Type="http://schemas.openxmlformats.org/officeDocument/2006/relationships/image" Target="../media/image57.png"/><Relationship Id="rId4" Type="http://schemas.openxmlformats.org/officeDocument/2006/relationships/image" Target="../media/image56.png"/></Relationships>
</file>

<file path=ppt/slides/_rels/slide19.xml.rels><?xml version="1.0" encoding="UTF-8" standalone="yes"?>
<Relationships xmlns="http://schemas.openxmlformats.org/package/2006/relationships"><Relationship Id="rId3" Type="http://schemas.openxmlformats.org/officeDocument/2006/relationships/image" Target="../media/image58.tiff"/><Relationship Id="rId2" Type="http://schemas.openxmlformats.org/officeDocument/2006/relationships/notesSlide" Target="../notesSlides/notesSlide19.xml"/><Relationship Id="rId1" Type="http://schemas.openxmlformats.org/officeDocument/2006/relationships/slideLayout" Target="../slideLayouts/slideLayout34.xml"/></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2.svg"/><Relationship Id="rId3" Type="http://schemas.openxmlformats.org/officeDocument/2006/relationships/slideLayout" Target="../slideLayouts/slideLayout37.xml"/><Relationship Id="rId7" Type="http://schemas.openxmlformats.org/officeDocument/2006/relationships/image" Target="../media/image60.png"/><Relationship Id="rId12" Type="http://schemas.openxmlformats.org/officeDocument/2006/relationships/image" Target="../media/image21.png"/><Relationship Id="rId2" Type="http://schemas.openxmlformats.org/officeDocument/2006/relationships/tags" Target="../tags/tag4.xml"/><Relationship Id="rId16" Type="http://schemas.openxmlformats.org/officeDocument/2006/relationships/image" Target="../media/image61.jpeg"/><Relationship Id="rId1" Type="http://schemas.openxmlformats.org/officeDocument/2006/relationships/vmlDrawing" Target="../drawings/vmlDrawing2.vml"/><Relationship Id="rId6" Type="http://schemas.openxmlformats.org/officeDocument/2006/relationships/image" Target="../media/image59.emf"/><Relationship Id="rId11" Type="http://schemas.openxmlformats.org/officeDocument/2006/relationships/image" Target="../media/image20.svg"/><Relationship Id="rId5" Type="http://schemas.openxmlformats.org/officeDocument/2006/relationships/oleObject" Target="../embeddings/oleObject2.bin"/><Relationship Id="rId15" Type="http://schemas.openxmlformats.org/officeDocument/2006/relationships/image" Target="../media/image24.svg"/><Relationship Id="rId10" Type="http://schemas.openxmlformats.org/officeDocument/2006/relationships/image" Target="../media/image19.png"/><Relationship Id="rId4" Type="http://schemas.openxmlformats.org/officeDocument/2006/relationships/notesSlide" Target="../notesSlides/notesSlide20.xml"/><Relationship Id="rId9" Type="http://schemas.microsoft.com/office/2007/relationships/hdphoto" Target="../media/hdphoto1.wdp"/><Relationship Id="rId14" Type="http://schemas.openxmlformats.org/officeDocument/2006/relationships/image" Target="../media/image23.png"/></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8" Type="http://schemas.openxmlformats.org/officeDocument/2006/relationships/image" Target="../media/image63.jpeg"/><Relationship Id="rId3" Type="http://schemas.openxmlformats.org/officeDocument/2006/relationships/tags" Target="../tags/tag6.xml"/><Relationship Id="rId7" Type="http://schemas.openxmlformats.org/officeDocument/2006/relationships/image" Target="../media/image62.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22.xml"/><Relationship Id="rId4"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12.xml"/><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18" Type="http://schemas.openxmlformats.org/officeDocument/2006/relationships/image" Target="../media/image32.png"/><Relationship Id="rId3" Type="http://schemas.openxmlformats.org/officeDocument/2006/relationships/image" Target="../media/image18.png"/><Relationship Id="rId7" Type="http://schemas.openxmlformats.org/officeDocument/2006/relationships/image" Target="../media/image21.png"/><Relationship Id="rId12" Type="http://schemas.openxmlformats.org/officeDocument/2006/relationships/image" Target="../media/image26.png"/><Relationship Id="rId17" Type="http://schemas.openxmlformats.org/officeDocument/2006/relationships/image" Target="../media/image31.svg"/><Relationship Id="rId2" Type="http://schemas.openxmlformats.org/officeDocument/2006/relationships/notesSlide" Target="../notesSlides/notesSlide5.xml"/><Relationship Id="rId16" Type="http://schemas.openxmlformats.org/officeDocument/2006/relationships/image" Target="../media/image30.png"/><Relationship Id="rId1" Type="http://schemas.openxmlformats.org/officeDocument/2006/relationships/slideLayout" Target="../slideLayouts/slideLayout12.xml"/><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svg"/><Relationship Id="rId10" Type="http://schemas.openxmlformats.org/officeDocument/2006/relationships/image" Target="../media/image24.svg"/><Relationship Id="rId19" Type="http://schemas.openxmlformats.org/officeDocument/2006/relationships/image" Target="../media/image33.png"/><Relationship Id="rId4" Type="http://schemas.microsoft.com/office/2007/relationships/hdphoto" Target="../media/hdphoto1.wdp"/><Relationship Id="rId9" Type="http://schemas.openxmlformats.org/officeDocument/2006/relationships/image" Target="../media/image23.png"/><Relationship Id="rId14" Type="http://schemas.openxmlformats.org/officeDocument/2006/relationships/image" Target="../media/image28.png"/></Relationships>
</file>

<file path=ppt/slides/_rels/slide6.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6.xml"/><Relationship Id="rId1" Type="http://schemas.openxmlformats.org/officeDocument/2006/relationships/slideLayout" Target="../slideLayouts/slideLayout34.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12.xml"/><Relationship Id="rId5" Type="http://schemas.openxmlformats.org/officeDocument/2006/relationships/image" Target="../media/image42.png"/><Relationship Id="rId4" Type="http://schemas.openxmlformats.org/officeDocument/2006/relationships/image" Target="../media/image41.png"/></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12.xml"/><Relationship Id="rId5" Type="http://schemas.openxmlformats.org/officeDocument/2006/relationships/image" Target="../media/image42.png"/><Relationship Id="rId4" Type="http://schemas.openxmlformats.org/officeDocument/2006/relationships/image" Target="../media/image41.png"/></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9.xml"/><Relationship Id="rId1" Type="http://schemas.openxmlformats.org/officeDocument/2006/relationships/slideLayout" Target="../slideLayouts/slideLayout12.xml"/><Relationship Id="rId5" Type="http://schemas.openxmlformats.org/officeDocument/2006/relationships/image" Target="../media/image42.png"/><Relationship Id="rId4" Type="http://schemas.openxmlformats.org/officeDocument/2006/relationships/image" Target="../media/image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24EAEAD-20AA-4763-A493-811475334A6D}"/>
              </a:ext>
            </a:extLst>
          </p:cNvPr>
          <p:cNvSpPr>
            <a:spLocks noGrp="1"/>
          </p:cNvSpPr>
          <p:nvPr>
            <p:ph sz="half" idx="1"/>
          </p:nvPr>
        </p:nvSpPr>
        <p:spPr/>
        <p:txBody>
          <a:bodyPr/>
          <a:lstStyle/>
          <a:p>
            <a:endParaRPr lang="en-US" dirty="0"/>
          </a:p>
        </p:txBody>
      </p:sp>
      <p:sp>
        <p:nvSpPr>
          <p:cNvPr id="5" name="Slide Number Placeholder 4">
            <a:extLst>
              <a:ext uri="{FF2B5EF4-FFF2-40B4-BE49-F238E27FC236}">
                <a16:creationId xmlns:a16="http://schemas.microsoft.com/office/drawing/2014/main" id="{3E2BD6A4-4B00-4C5A-83FB-BAA7EB1C1DBD}"/>
              </a:ext>
            </a:extLst>
          </p:cNvPr>
          <p:cNvSpPr>
            <a:spLocks noGrp="1"/>
          </p:cNvSpPr>
          <p:nvPr>
            <p:ph type="sldNum" sz="quarter" idx="18"/>
          </p:nvPr>
        </p:nvSpPr>
        <p:spPr/>
        <p:txBody>
          <a:bodyPr/>
          <a:lstStyle/>
          <a:p>
            <a:fld id="{7A3F00B2-786C-401B-9EB3-42A9D0DD4A9F}" type="slidenum">
              <a:rPr lang="nb-NO" smtClean="0"/>
              <a:pPr/>
              <a:t>1</a:t>
            </a:fld>
            <a:endParaRPr lang="nb-NO"/>
          </a:p>
        </p:txBody>
      </p:sp>
      <p:pic>
        <p:nvPicPr>
          <p:cNvPr id="6" name="Content Placeholder 8">
            <a:extLst>
              <a:ext uri="{FF2B5EF4-FFF2-40B4-BE49-F238E27FC236}">
                <a16:creationId xmlns:a16="http://schemas.microsoft.com/office/drawing/2014/main" id="{3B445F8B-11B9-458F-880D-D5948F0FBED1}"/>
              </a:ext>
            </a:extLst>
          </p:cNvPr>
          <p:cNvPicPr>
            <a:picLocks noChangeAspect="1"/>
          </p:cNvPicPr>
          <p:nvPr/>
        </p:nvPicPr>
        <p:blipFill rotWithShape="1">
          <a:blip r:embed="rId3">
            <a:extLst>
              <a:ext uri="{28A0092B-C50C-407E-A947-70E740481C1C}">
                <a14:useLocalDpi xmlns:a14="http://schemas.microsoft.com/office/drawing/2010/main" val="0"/>
              </a:ext>
            </a:extLst>
          </a:blip>
          <a:srcRect l="404" t="20229" r="-404" b="12260"/>
          <a:stretch/>
        </p:blipFill>
        <p:spPr>
          <a:xfrm>
            <a:off x="-50442" y="1555666"/>
            <a:ext cx="12344400" cy="4687910"/>
          </a:xfrm>
          <a:prstGeom prst="rect">
            <a:avLst/>
          </a:prstGeom>
          <a:noFill/>
        </p:spPr>
      </p:pic>
      <p:sp>
        <p:nvSpPr>
          <p:cNvPr id="8" name="TextBox 7">
            <a:extLst>
              <a:ext uri="{FF2B5EF4-FFF2-40B4-BE49-F238E27FC236}">
                <a16:creationId xmlns:a16="http://schemas.microsoft.com/office/drawing/2014/main" id="{C0E3B862-48C6-473C-B44A-6746D318265F}"/>
              </a:ext>
            </a:extLst>
          </p:cNvPr>
          <p:cNvSpPr txBox="1"/>
          <p:nvPr/>
        </p:nvSpPr>
        <p:spPr>
          <a:xfrm>
            <a:off x="133563" y="2383604"/>
            <a:ext cx="5756953" cy="1323439"/>
          </a:xfrm>
          <a:prstGeom prst="rect">
            <a:avLst/>
          </a:prstGeom>
          <a:noFill/>
        </p:spPr>
        <p:txBody>
          <a:bodyPr wrap="square" rtlCol="0">
            <a:spAutoFit/>
          </a:bodyPr>
          <a:lstStyle/>
          <a:p>
            <a:r>
              <a:rPr lang="en-US" sz="2000" b="1" i="1" dirty="0">
                <a:solidFill>
                  <a:schemeClr val="bg1"/>
                </a:solidFill>
              </a:rPr>
              <a:t>What If you could…</a:t>
            </a:r>
          </a:p>
          <a:p>
            <a:pPr marL="342900" indent="-342900">
              <a:buFont typeface="Wingdings" panose="05000000000000000000" pitchFamily="2" charset="2"/>
              <a:buChar char="§"/>
            </a:pPr>
            <a:r>
              <a:rPr lang="en-US" sz="2000" b="1" dirty="0">
                <a:solidFill>
                  <a:schemeClr val="bg1"/>
                </a:solidFill>
              </a:rPr>
              <a:t>operate your assets more sustainably and safely</a:t>
            </a:r>
          </a:p>
          <a:p>
            <a:pPr marL="342900" indent="-342900">
              <a:buFont typeface="Wingdings" panose="05000000000000000000" pitchFamily="2" charset="2"/>
              <a:buChar char="§"/>
            </a:pPr>
            <a:r>
              <a:rPr lang="en-US" sz="2000" b="1" dirty="0">
                <a:solidFill>
                  <a:schemeClr val="bg1"/>
                </a:solidFill>
              </a:rPr>
              <a:t>attract and retaining talent</a:t>
            </a:r>
          </a:p>
          <a:p>
            <a:pPr marL="342900" indent="-342900">
              <a:buFont typeface="Wingdings" panose="05000000000000000000" pitchFamily="2" charset="2"/>
              <a:buChar char="§"/>
            </a:pPr>
            <a:r>
              <a:rPr lang="en-US" sz="2000" b="1" dirty="0">
                <a:solidFill>
                  <a:schemeClr val="bg1"/>
                </a:solidFill>
              </a:rPr>
              <a:t>reduce your OPEX</a:t>
            </a:r>
          </a:p>
        </p:txBody>
      </p:sp>
    </p:spTree>
    <p:extLst>
      <p:ext uri="{BB962C8B-B14F-4D97-AF65-F5344CB8AC3E}">
        <p14:creationId xmlns:p14="http://schemas.microsoft.com/office/powerpoint/2010/main" val="73045897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0E91880-1EA5-4F41-BF69-2293675DD6CE}"/>
              </a:ext>
            </a:extLst>
          </p:cNvPr>
          <p:cNvSpPr>
            <a:spLocks noGrp="1"/>
          </p:cNvSpPr>
          <p:nvPr>
            <p:ph type="sldNum" sz="quarter" idx="18"/>
          </p:nvPr>
        </p:nvSpPr>
        <p:spPr/>
        <p:txBody>
          <a:bodyPr/>
          <a:lstStyle/>
          <a:p>
            <a:fld id="{7A3F00B2-786C-401B-9EB3-42A9D0DD4A9F}" type="slidenum">
              <a:rPr lang="nb-NO" smtClean="0"/>
              <a:pPr/>
              <a:t>10</a:t>
            </a:fld>
            <a:endParaRPr lang="nb-NO"/>
          </a:p>
        </p:txBody>
      </p:sp>
      <p:grpSp>
        <p:nvGrpSpPr>
          <p:cNvPr id="14" name="Group 13">
            <a:extLst>
              <a:ext uri="{FF2B5EF4-FFF2-40B4-BE49-F238E27FC236}">
                <a16:creationId xmlns:a16="http://schemas.microsoft.com/office/drawing/2014/main" id="{8FA4DB79-741B-4207-9DD3-119B2C8EF080}"/>
              </a:ext>
            </a:extLst>
          </p:cNvPr>
          <p:cNvGrpSpPr/>
          <p:nvPr/>
        </p:nvGrpSpPr>
        <p:grpSpPr>
          <a:xfrm>
            <a:off x="-7447110" y="-3445760"/>
            <a:ext cx="17619809" cy="9351259"/>
            <a:chOff x="1619683" y="1112708"/>
            <a:chExt cx="9617183" cy="5053594"/>
          </a:xfrm>
        </p:grpSpPr>
        <p:pic>
          <p:nvPicPr>
            <p:cNvPr id="15" name="Picture 14">
              <a:extLst>
                <a:ext uri="{FF2B5EF4-FFF2-40B4-BE49-F238E27FC236}">
                  <a16:creationId xmlns:a16="http://schemas.microsoft.com/office/drawing/2014/main" id="{EAAA9766-E189-4611-95E8-EA48FFB0244A}"/>
                </a:ext>
              </a:extLst>
            </p:cNvPr>
            <p:cNvPicPr>
              <a:picLocks noChangeAspect="1"/>
            </p:cNvPicPr>
            <p:nvPr/>
          </p:nvPicPr>
          <p:blipFill rotWithShape="1">
            <a:blip r:embed="rId3"/>
            <a:srcRect t="7813" b="5428"/>
            <a:stretch/>
          </p:blipFill>
          <p:spPr>
            <a:xfrm>
              <a:off x="1619683" y="1652613"/>
              <a:ext cx="6740940" cy="3289683"/>
            </a:xfrm>
            <a:prstGeom prst="rect">
              <a:avLst/>
            </a:prstGeom>
            <a:ln>
              <a:noFill/>
            </a:ln>
          </p:spPr>
        </p:pic>
        <p:sp>
          <p:nvSpPr>
            <p:cNvPr id="16" name="Freeform: Shape 15">
              <a:extLst>
                <a:ext uri="{FF2B5EF4-FFF2-40B4-BE49-F238E27FC236}">
                  <a16:creationId xmlns:a16="http://schemas.microsoft.com/office/drawing/2014/main" id="{366764C7-C3B5-4433-8D08-4AA86F091D6F}"/>
                </a:ext>
              </a:extLst>
            </p:cNvPr>
            <p:cNvSpPr/>
            <p:nvPr/>
          </p:nvSpPr>
          <p:spPr>
            <a:xfrm>
              <a:off x="7588265" y="3512452"/>
              <a:ext cx="3633556" cy="2653850"/>
            </a:xfrm>
            <a:custGeom>
              <a:avLst/>
              <a:gdLst>
                <a:gd name="connsiteX0" fmla="*/ 3595456 w 3595456"/>
                <a:gd name="connsiteY0" fmla="*/ 639193 h 2610035"/>
                <a:gd name="connsiteX1" fmla="*/ 124287 w 3595456"/>
                <a:gd name="connsiteY1" fmla="*/ 0 h 2610035"/>
                <a:gd name="connsiteX2" fmla="*/ 0 w 3595456"/>
                <a:gd name="connsiteY2" fmla="*/ 195309 h 2610035"/>
                <a:gd name="connsiteX3" fmla="*/ 381739 w 3595456"/>
                <a:gd name="connsiteY3" fmla="*/ 2610035 h 2610035"/>
                <a:gd name="connsiteX4" fmla="*/ 381739 w 3595456"/>
                <a:gd name="connsiteY4" fmla="*/ 2610035 h 2610035"/>
                <a:gd name="connsiteX0" fmla="*/ 3633556 w 3633556"/>
                <a:gd name="connsiteY0" fmla="*/ 574423 h 2610035"/>
                <a:gd name="connsiteX1" fmla="*/ 124287 w 3633556"/>
                <a:gd name="connsiteY1" fmla="*/ 0 h 2610035"/>
                <a:gd name="connsiteX2" fmla="*/ 0 w 3633556"/>
                <a:gd name="connsiteY2" fmla="*/ 195309 h 2610035"/>
                <a:gd name="connsiteX3" fmla="*/ 381739 w 3633556"/>
                <a:gd name="connsiteY3" fmla="*/ 2610035 h 2610035"/>
                <a:gd name="connsiteX4" fmla="*/ 381739 w 3633556"/>
                <a:gd name="connsiteY4" fmla="*/ 2610035 h 2610035"/>
                <a:gd name="connsiteX0" fmla="*/ 3633556 w 3633556"/>
                <a:gd name="connsiteY0" fmla="*/ 574423 h 2792398"/>
                <a:gd name="connsiteX1" fmla="*/ 124287 w 3633556"/>
                <a:gd name="connsiteY1" fmla="*/ 0 h 2792398"/>
                <a:gd name="connsiteX2" fmla="*/ 0 w 3633556"/>
                <a:gd name="connsiteY2" fmla="*/ 195309 h 2792398"/>
                <a:gd name="connsiteX3" fmla="*/ 381739 w 3633556"/>
                <a:gd name="connsiteY3" fmla="*/ 2610035 h 2792398"/>
                <a:gd name="connsiteX4" fmla="*/ 341734 w 3633556"/>
                <a:gd name="connsiteY4" fmla="*/ 2623370 h 2792398"/>
                <a:gd name="connsiteX0" fmla="*/ 3633556 w 3633556"/>
                <a:gd name="connsiteY0" fmla="*/ 574423 h 2825217"/>
                <a:gd name="connsiteX1" fmla="*/ 124287 w 3633556"/>
                <a:gd name="connsiteY1" fmla="*/ 0 h 2825217"/>
                <a:gd name="connsiteX2" fmla="*/ 0 w 3633556"/>
                <a:gd name="connsiteY2" fmla="*/ 195309 h 2825217"/>
                <a:gd name="connsiteX3" fmla="*/ 330304 w 3633556"/>
                <a:gd name="connsiteY3" fmla="*/ 2653850 h 2825217"/>
                <a:gd name="connsiteX4" fmla="*/ 341734 w 3633556"/>
                <a:gd name="connsiteY4" fmla="*/ 2623370 h 2825217"/>
                <a:gd name="connsiteX0" fmla="*/ 3633556 w 3633556"/>
                <a:gd name="connsiteY0" fmla="*/ 574423 h 2653850"/>
                <a:gd name="connsiteX1" fmla="*/ 124287 w 3633556"/>
                <a:gd name="connsiteY1" fmla="*/ 0 h 2653850"/>
                <a:gd name="connsiteX2" fmla="*/ 0 w 3633556"/>
                <a:gd name="connsiteY2" fmla="*/ 195309 h 2653850"/>
                <a:gd name="connsiteX3" fmla="*/ 330304 w 3633556"/>
                <a:gd name="connsiteY3" fmla="*/ 2653850 h 2653850"/>
              </a:gdLst>
              <a:ahLst/>
              <a:cxnLst>
                <a:cxn ang="0">
                  <a:pos x="connsiteX0" y="connsiteY0"/>
                </a:cxn>
                <a:cxn ang="0">
                  <a:pos x="connsiteX1" y="connsiteY1"/>
                </a:cxn>
                <a:cxn ang="0">
                  <a:pos x="connsiteX2" y="connsiteY2"/>
                </a:cxn>
                <a:cxn ang="0">
                  <a:pos x="connsiteX3" y="connsiteY3"/>
                </a:cxn>
              </a:cxnLst>
              <a:rect l="l" t="t" r="r" b="b"/>
              <a:pathLst>
                <a:path w="3633556" h="2653850">
                  <a:moveTo>
                    <a:pt x="3633556" y="574423"/>
                  </a:moveTo>
                  <a:lnTo>
                    <a:pt x="124287" y="0"/>
                  </a:lnTo>
                  <a:lnTo>
                    <a:pt x="0" y="195309"/>
                  </a:lnTo>
                  <a:cubicBezTo>
                    <a:pt x="127246" y="1000218"/>
                    <a:pt x="273348" y="2249173"/>
                    <a:pt x="330304" y="2653850"/>
                  </a:cubicBezTo>
                </a:path>
              </a:pathLst>
            </a:custGeom>
            <a:solidFill>
              <a:schemeClr val="accent2">
                <a:lumMod val="75000"/>
                <a:alpha val="57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17" name="Picture 16">
              <a:extLst>
                <a:ext uri="{FF2B5EF4-FFF2-40B4-BE49-F238E27FC236}">
                  <a16:creationId xmlns:a16="http://schemas.microsoft.com/office/drawing/2014/main" id="{45A26811-0755-4614-94DE-E2B5641BF0F8}"/>
                </a:ext>
              </a:extLst>
            </p:cNvPr>
            <p:cNvPicPr>
              <a:picLocks noChangeAspect="1"/>
            </p:cNvPicPr>
            <p:nvPr/>
          </p:nvPicPr>
          <p:blipFill rotWithShape="1">
            <a:blip r:embed="rId4"/>
            <a:srcRect t="24279" r="50533" b="20932"/>
            <a:stretch/>
          </p:blipFill>
          <p:spPr>
            <a:xfrm>
              <a:off x="7939954" y="4102338"/>
              <a:ext cx="3279277" cy="2043069"/>
            </a:xfrm>
            <a:prstGeom prst="rect">
              <a:avLst/>
            </a:prstGeom>
            <a:ln w="6350">
              <a:solidFill>
                <a:schemeClr val="tx1"/>
              </a:solidFill>
            </a:ln>
          </p:spPr>
        </p:pic>
        <p:sp>
          <p:nvSpPr>
            <p:cNvPr id="18" name="Oval 17">
              <a:extLst>
                <a:ext uri="{FF2B5EF4-FFF2-40B4-BE49-F238E27FC236}">
                  <a16:creationId xmlns:a16="http://schemas.microsoft.com/office/drawing/2014/main" id="{B2DD6951-13AA-40C3-AA5D-5839F74BBE45}"/>
                </a:ext>
              </a:extLst>
            </p:cNvPr>
            <p:cNvSpPr/>
            <p:nvPr/>
          </p:nvSpPr>
          <p:spPr>
            <a:xfrm>
              <a:off x="7573413" y="3502925"/>
              <a:ext cx="225863" cy="225863"/>
            </a:xfrm>
            <a:prstGeom prst="ellipse">
              <a:avLst/>
            </a:prstGeom>
            <a:solidFill>
              <a:schemeClr val="bg1"/>
            </a:solidFill>
            <a:ln>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9" name="Picture 18">
              <a:extLst>
                <a:ext uri="{FF2B5EF4-FFF2-40B4-BE49-F238E27FC236}">
                  <a16:creationId xmlns:a16="http://schemas.microsoft.com/office/drawing/2014/main" id="{B6191D27-DE03-463A-B19C-D8A48B7BBA65}"/>
                </a:ext>
              </a:extLst>
            </p:cNvPr>
            <p:cNvPicPr>
              <a:picLocks noChangeAspect="1"/>
            </p:cNvPicPr>
            <p:nvPr/>
          </p:nvPicPr>
          <p:blipFill rotWithShape="1">
            <a:blip r:embed="rId4"/>
            <a:srcRect t="24279" r="50533" b="20932"/>
            <a:stretch/>
          </p:blipFill>
          <p:spPr>
            <a:xfrm>
              <a:off x="7581410" y="3512452"/>
              <a:ext cx="209868" cy="20680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1" name="TextBox 20">
              <a:extLst>
                <a:ext uri="{FF2B5EF4-FFF2-40B4-BE49-F238E27FC236}">
                  <a16:creationId xmlns:a16="http://schemas.microsoft.com/office/drawing/2014/main" id="{6E4F5F6E-B7FD-4E53-B163-03A1526462DB}"/>
                </a:ext>
              </a:extLst>
            </p:cNvPr>
            <p:cNvSpPr txBox="1"/>
            <p:nvPr/>
          </p:nvSpPr>
          <p:spPr>
            <a:xfrm>
              <a:off x="9696431" y="3648895"/>
              <a:ext cx="184731" cy="261610"/>
            </a:xfrm>
            <a:prstGeom prst="rect">
              <a:avLst/>
            </a:prstGeom>
            <a:noFill/>
          </p:spPr>
          <p:txBody>
            <a:bodyPr wrap="none" rtlCol="0">
              <a:spAutoFit/>
            </a:bodyPr>
            <a:lstStyle/>
            <a:p>
              <a:endParaRPr lang="en-US" sz="1100" b="1" dirty="0"/>
            </a:p>
          </p:txBody>
        </p:sp>
        <p:pic>
          <p:nvPicPr>
            <p:cNvPr id="32" name="Picture 31">
              <a:extLst>
                <a:ext uri="{FF2B5EF4-FFF2-40B4-BE49-F238E27FC236}">
                  <a16:creationId xmlns:a16="http://schemas.microsoft.com/office/drawing/2014/main" id="{D47C4762-23A7-40E9-B901-C23458D7A72E}"/>
                </a:ext>
              </a:extLst>
            </p:cNvPr>
            <p:cNvPicPr>
              <a:picLocks noChangeAspect="1"/>
            </p:cNvPicPr>
            <p:nvPr/>
          </p:nvPicPr>
          <p:blipFill rotWithShape="1">
            <a:blip r:embed="rId5"/>
            <a:srcRect l="12167" t="22059" r="52344" b="20315"/>
            <a:stretch/>
          </p:blipFill>
          <p:spPr>
            <a:xfrm>
              <a:off x="9086709" y="1288496"/>
              <a:ext cx="2149964" cy="2327360"/>
            </a:xfrm>
            <a:prstGeom prst="rect">
              <a:avLst/>
            </a:prstGeom>
          </p:spPr>
        </p:pic>
        <p:sp>
          <p:nvSpPr>
            <p:cNvPr id="33" name="Rectangle 32">
              <a:extLst>
                <a:ext uri="{FF2B5EF4-FFF2-40B4-BE49-F238E27FC236}">
                  <a16:creationId xmlns:a16="http://schemas.microsoft.com/office/drawing/2014/main" id="{AB2E44AE-D370-4AEC-B749-99CAF281B125}"/>
                </a:ext>
              </a:extLst>
            </p:cNvPr>
            <p:cNvSpPr/>
            <p:nvPr/>
          </p:nvSpPr>
          <p:spPr>
            <a:xfrm>
              <a:off x="7922317" y="3920032"/>
              <a:ext cx="3314549" cy="169269"/>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Always On Simulation + DCS Data</a:t>
              </a:r>
            </a:p>
          </p:txBody>
        </p:sp>
        <p:sp>
          <p:nvSpPr>
            <p:cNvPr id="34" name="Rectangle 33">
              <a:extLst>
                <a:ext uri="{FF2B5EF4-FFF2-40B4-BE49-F238E27FC236}">
                  <a16:creationId xmlns:a16="http://schemas.microsoft.com/office/drawing/2014/main" id="{6DB5B2F4-4A88-4EDA-80D0-5AAAA8D85E01}"/>
                </a:ext>
              </a:extLst>
            </p:cNvPr>
            <p:cNvSpPr/>
            <p:nvPr/>
          </p:nvSpPr>
          <p:spPr>
            <a:xfrm>
              <a:off x="9104151" y="1112708"/>
              <a:ext cx="2132522" cy="169269"/>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extualized Tools &amp; Data</a:t>
              </a:r>
            </a:p>
          </p:txBody>
        </p:sp>
        <p:cxnSp>
          <p:nvCxnSpPr>
            <p:cNvPr id="35" name="Straight Connector 34">
              <a:extLst>
                <a:ext uri="{FF2B5EF4-FFF2-40B4-BE49-F238E27FC236}">
                  <a16:creationId xmlns:a16="http://schemas.microsoft.com/office/drawing/2014/main" id="{A2919C2E-BF85-4D53-AD3B-A6A207988AC2}"/>
                </a:ext>
              </a:extLst>
            </p:cNvPr>
            <p:cNvCxnSpPr>
              <a:endCxn id="34" idx="1"/>
            </p:cNvCxnSpPr>
            <p:nvPr/>
          </p:nvCxnSpPr>
          <p:spPr>
            <a:xfrm flipV="1">
              <a:off x="7573413" y="1197343"/>
              <a:ext cx="1530738" cy="1254833"/>
            </a:xfrm>
            <a:prstGeom prst="line">
              <a:avLst/>
            </a:prstGeom>
            <a:ln w="381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808400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0E91880-1EA5-4F41-BF69-2293675DD6CE}"/>
              </a:ext>
            </a:extLst>
          </p:cNvPr>
          <p:cNvSpPr>
            <a:spLocks noGrp="1"/>
          </p:cNvSpPr>
          <p:nvPr>
            <p:ph type="sldNum" sz="quarter" idx="18"/>
          </p:nvPr>
        </p:nvSpPr>
        <p:spPr/>
        <p:txBody>
          <a:bodyPr/>
          <a:lstStyle/>
          <a:p>
            <a:fld id="{7A3F00B2-786C-401B-9EB3-42A9D0DD4A9F}" type="slidenum">
              <a:rPr lang="nb-NO" smtClean="0"/>
              <a:pPr/>
              <a:t>11</a:t>
            </a:fld>
            <a:endParaRPr lang="nb-NO"/>
          </a:p>
        </p:txBody>
      </p:sp>
      <p:grpSp>
        <p:nvGrpSpPr>
          <p:cNvPr id="14" name="Group 13">
            <a:extLst>
              <a:ext uri="{FF2B5EF4-FFF2-40B4-BE49-F238E27FC236}">
                <a16:creationId xmlns:a16="http://schemas.microsoft.com/office/drawing/2014/main" id="{8FA4DB79-741B-4207-9DD3-119B2C8EF080}"/>
              </a:ext>
            </a:extLst>
          </p:cNvPr>
          <p:cNvGrpSpPr/>
          <p:nvPr/>
        </p:nvGrpSpPr>
        <p:grpSpPr>
          <a:xfrm>
            <a:off x="-9371160" y="1050040"/>
            <a:ext cx="17619809" cy="9351259"/>
            <a:chOff x="1619683" y="1112708"/>
            <a:chExt cx="9617183" cy="5053594"/>
          </a:xfrm>
        </p:grpSpPr>
        <p:pic>
          <p:nvPicPr>
            <p:cNvPr id="15" name="Picture 14">
              <a:extLst>
                <a:ext uri="{FF2B5EF4-FFF2-40B4-BE49-F238E27FC236}">
                  <a16:creationId xmlns:a16="http://schemas.microsoft.com/office/drawing/2014/main" id="{EAAA9766-E189-4611-95E8-EA48FFB0244A}"/>
                </a:ext>
              </a:extLst>
            </p:cNvPr>
            <p:cNvPicPr>
              <a:picLocks noChangeAspect="1"/>
            </p:cNvPicPr>
            <p:nvPr/>
          </p:nvPicPr>
          <p:blipFill rotWithShape="1">
            <a:blip r:embed="rId3"/>
            <a:srcRect t="7813" b="5428"/>
            <a:stretch/>
          </p:blipFill>
          <p:spPr>
            <a:xfrm>
              <a:off x="1619683" y="1652613"/>
              <a:ext cx="6740940" cy="3289683"/>
            </a:xfrm>
            <a:prstGeom prst="rect">
              <a:avLst/>
            </a:prstGeom>
            <a:ln>
              <a:noFill/>
            </a:ln>
          </p:spPr>
        </p:pic>
        <p:sp>
          <p:nvSpPr>
            <p:cNvPr id="16" name="Freeform: Shape 15">
              <a:extLst>
                <a:ext uri="{FF2B5EF4-FFF2-40B4-BE49-F238E27FC236}">
                  <a16:creationId xmlns:a16="http://schemas.microsoft.com/office/drawing/2014/main" id="{366764C7-C3B5-4433-8D08-4AA86F091D6F}"/>
                </a:ext>
              </a:extLst>
            </p:cNvPr>
            <p:cNvSpPr/>
            <p:nvPr/>
          </p:nvSpPr>
          <p:spPr>
            <a:xfrm>
              <a:off x="7588265" y="3512452"/>
              <a:ext cx="3633556" cy="2653850"/>
            </a:xfrm>
            <a:custGeom>
              <a:avLst/>
              <a:gdLst>
                <a:gd name="connsiteX0" fmla="*/ 3595456 w 3595456"/>
                <a:gd name="connsiteY0" fmla="*/ 639193 h 2610035"/>
                <a:gd name="connsiteX1" fmla="*/ 124287 w 3595456"/>
                <a:gd name="connsiteY1" fmla="*/ 0 h 2610035"/>
                <a:gd name="connsiteX2" fmla="*/ 0 w 3595456"/>
                <a:gd name="connsiteY2" fmla="*/ 195309 h 2610035"/>
                <a:gd name="connsiteX3" fmla="*/ 381739 w 3595456"/>
                <a:gd name="connsiteY3" fmla="*/ 2610035 h 2610035"/>
                <a:gd name="connsiteX4" fmla="*/ 381739 w 3595456"/>
                <a:gd name="connsiteY4" fmla="*/ 2610035 h 2610035"/>
                <a:gd name="connsiteX0" fmla="*/ 3633556 w 3633556"/>
                <a:gd name="connsiteY0" fmla="*/ 574423 h 2610035"/>
                <a:gd name="connsiteX1" fmla="*/ 124287 w 3633556"/>
                <a:gd name="connsiteY1" fmla="*/ 0 h 2610035"/>
                <a:gd name="connsiteX2" fmla="*/ 0 w 3633556"/>
                <a:gd name="connsiteY2" fmla="*/ 195309 h 2610035"/>
                <a:gd name="connsiteX3" fmla="*/ 381739 w 3633556"/>
                <a:gd name="connsiteY3" fmla="*/ 2610035 h 2610035"/>
                <a:gd name="connsiteX4" fmla="*/ 381739 w 3633556"/>
                <a:gd name="connsiteY4" fmla="*/ 2610035 h 2610035"/>
                <a:gd name="connsiteX0" fmla="*/ 3633556 w 3633556"/>
                <a:gd name="connsiteY0" fmla="*/ 574423 h 2792398"/>
                <a:gd name="connsiteX1" fmla="*/ 124287 w 3633556"/>
                <a:gd name="connsiteY1" fmla="*/ 0 h 2792398"/>
                <a:gd name="connsiteX2" fmla="*/ 0 w 3633556"/>
                <a:gd name="connsiteY2" fmla="*/ 195309 h 2792398"/>
                <a:gd name="connsiteX3" fmla="*/ 381739 w 3633556"/>
                <a:gd name="connsiteY3" fmla="*/ 2610035 h 2792398"/>
                <a:gd name="connsiteX4" fmla="*/ 341734 w 3633556"/>
                <a:gd name="connsiteY4" fmla="*/ 2623370 h 2792398"/>
                <a:gd name="connsiteX0" fmla="*/ 3633556 w 3633556"/>
                <a:gd name="connsiteY0" fmla="*/ 574423 h 2825217"/>
                <a:gd name="connsiteX1" fmla="*/ 124287 w 3633556"/>
                <a:gd name="connsiteY1" fmla="*/ 0 h 2825217"/>
                <a:gd name="connsiteX2" fmla="*/ 0 w 3633556"/>
                <a:gd name="connsiteY2" fmla="*/ 195309 h 2825217"/>
                <a:gd name="connsiteX3" fmla="*/ 330304 w 3633556"/>
                <a:gd name="connsiteY3" fmla="*/ 2653850 h 2825217"/>
                <a:gd name="connsiteX4" fmla="*/ 341734 w 3633556"/>
                <a:gd name="connsiteY4" fmla="*/ 2623370 h 2825217"/>
                <a:gd name="connsiteX0" fmla="*/ 3633556 w 3633556"/>
                <a:gd name="connsiteY0" fmla="*/ 574423 h 2653850"/>
                <a:gd name="connsiteX1" fmla="*/ 124287 w 3633556"/>
                <a:gd name="connsiteY1" fmla="*/ 0 h 2653850"/>
                <a:gd name="connsiteX2" fmla="*/ 0 w 3633556"/>
                <a:gd name="connsiteY2" fmla="*/ 195309 h 2653850"/>
                <a:gd name="connsiteX3" fmla="*/ 330304 w 3633556"/>
                <a:gd name="connsiteY3" fmla="*/ 2653850 h 2653850"/>
              </a:gdLst>
              <a:ahLst/>
              <a:cxnLst>
                <a:cxn ang="0">
                  <a:pos x="connsiteX0" y="connsiteY0"/>
                </a:cxn>
                <a:cxn ang="0">
                  <a:pos x="connsiteX1" y="connsiteY1"/>
                </a:cxn>
                <a:cxn ang="0">
                  <a:pos x="connsiteX2" y="connsiteY2"/>
                </a:cxn>
                <a:cxn ang="0">
                  <a:pos x="connsiteX3" y="connsiteY3"/>
                </a:cxn>
              </a:cxnLst>
              <a:rect l="l" t="t" r="r" b="b"/>
              <a:pathLst>
                <a:path w="3633556" h="2653850">
                  <a:moveTo>
                    <a:pt x="3633556" y="574423"/>
                  </a:moveTo>
                  <a:lnTo>
                    <a:pt x="124287" y="0"/>
                  </a:lnTo>
                  <a:lnTo>
                    <a:pt x="0" y="195309"/>
                  </a:lnTo>
                  <a:cubicBezTo>
                    <a:pt x="127246" y="1000218"/>
                    <a:pt x="273348" y="2249173"/>
                    <a:pt x="330304" y="2653850"/>
                  </a:cubicBezTo>
                </a:path>
              </a:pathLst>
            </a:custGeom>
            <a:solidFill>
              <a:schemeClr val="accent2">
                <a:lumMod val="75000"/>
                <a:alpha val="57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17" name="Picture 16">
              <a:extLst>
                <a:ext uri="{FF2B5EF4-FFF2-40B4-BE49-F238E27FC236}">
                  <a16:creationId xmlns:a16="http://schemas.microsoft.com/office/drawing/2014/main" id="{45A26811-0755-4614-94DE-E2B5641BF0F8}"/>
                </a:ext>
              </a:extLst>
            </p:cNvPr>
            <p:cNvPicPr>
              <a:picLocks noChangeAspect="1"/>
            </p:cNvPicPr>
            <p:nvPr/>
          </p:nvPicPr>
          <p:blipFill rotWithShape="1">
            <a:blip r:embed="rId4"/>
            <a:srcRect t="24279" r="50533" b="20932"/>
            <a:stretch/>
          </p:blipFill>
          <p:spPr>
            <a:xfrm>
              <a:off x="7939954" y="4102338"/>
              <a:ext cx="3279277" cy="2043069"/>
            </a:xfrm>
            <a:prstGeom prst="rect">
              <a:avLst/>
            </a:prstGeom>
            <a:ln w="6350">
              <a:solidFill>
                <a:schemeClr val="tx1"/>
              </a:solidFill>
            </a:ln>
          </p:spPr>
        </p:pic>
        <p:sp>
          <p:nvSpPr>
            <p:cNvPr id="18" name="Oval 17">
              <a:extLst>
                <a:ext uri="{FF2B5EF4-FFF2-40B4-BE49-F238E27FC236}">
                  <a16:creationId xmlns:a16="http://schemas.microsoft.com/office/drawing/2014/main" id="{B2DD6951-13AA-40C3-AA5D-5839F74BBE45}"/>
                </a:ext>
              </a:extLst>
            </p:cNvPr>
            <p:cNvSpPr/>
            <p:nvPr/>
          </p:nvSpPr>
          <p:spPr>
            <a:xfrm>
              <a:off x="7573413" y="3502925"/>
              <a:ext cx="225863" cy="225863"/>
            </a:xfrm>
            <a:prstGeom prst="ellipse">
              <a:avLst/>
            </a:prstGeom>
            <a:solidFill>
              <a:schemeClr val="bg1"/>
            </a:solidFill>
            <a:ln>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9" name="Picture 18">
              <a:extLst>
                <a:ext uri="{FF2B5EF4-FFF2-40B4-BE49-F238E27FC236}">
                  <a16:creationId xmlns:a16="http://schemas.microsoft.com/office/drawing/2014/main" id="{B6191D27-DE03-463A-B19C-D8A48B7BBA65}"/>
                </a:ext>
              </a:extLst>
            </p:cNvPr>
            <p:cNvPicPr>
              <a:picLocks noChangeAspect="1"/>
            </p:cNvPicPr>
            <p:nvPr/>
          </p:nvPicPr>
          <p:blipFill rotWithShape="1">
            <a:blip r:embed="rId4"/>
            <a:srcRect t="24279" r="50533" b="20932"/>
            <a:stretch/>
          </p:blipFill>
          <p:spPr>
            <a:xfrm>
              <a:off x="7581410" y="3512452"/>
              <a:ext cx="209868" cy="20680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1" name="TextBox 20">
              <a:extLst>
                <a:ext uri="{FF2B5EF4-FFF2-40B4-BE49-F238E27FC236}">
                  <a16:creationId xmlns:a16="http://schemas.microsoft.com/office/drawing/2014/main" id="{6E4F5F6E-B7FD-4E53-B163-03A1526462DB}"/>
                </a:ext>
              </a:extLst>
            </p:cNvPr>
            <p:cNvSpPr txBox="1"/>
            <p:nvPr/>
          </p:nvSpPr>
          <p:spPr>
            <a:xfrm>
              <a:off x="9696431" y="3648895"/>
              <a:ext cx="184731" cy="261610"/>
            </a:xfrm>
            <a:prstGeom prst="rect">
              <a:avLst/>
            </a:prstGeom>
            <a:noFill/>
          </p:spPr>
          <p:txBody>
            <a:bodyPr wrap="none" rtlCol="0">
              <a:spAutoFit/>
            </a:bodyPr>
            <a:lstStyle/>
            <a:p>
              <a:endParaRPr lang="en-US" sz="1100" b="1" dirty="0"/>
            </a:p>
          </p:txBody>
        </p:sp>
        <p:pic>
          <p:nvPicPr>
            <p:cNvPr id="32" name="Picture 31">
              <a:extLst>
                <a:ext uri="{FF2B5EF4-FFF2-40B4-BE49-F238E27FC236}">
                  <a16:creationId xmlns:a16="http://schemas.microsoft.com/office/drawing/2014/main" id="{D47C4762-23A7-40E9-B901-C23458D7A72E}"/>
                </a:ext>
              </a:extLst>
            </p:cNvPr>
            <p:cNvPicPr>
              <a:picLocks noChangeAspect="1"/>
            </p:cNvPicPr>
            <p:nvPr/>
          </p:nvPicPr>
          <p:blipFill rotWithShape="1">
            <a:blip r:embed="rId5"/>
            <a:srcRect l="12167" t="22059" r="52344" b="20315"/>
            <a:stretch/>
          </p:blipFill>
          <p:spPr>
            <a:xfrm>
              <a:off x="9086709" y="1288496"/>
              <a:ext cx="2149964" cy="2327360"/>
            </a:xfrm>
            <a:prstGeom prst="rect">
              <a:avLst/>
            </a:prstGeom>
          </p:spPr>
        </p:pic>
        <p:sp>
          <p:nvSpPr>
            <p:cNvPr id="33" name="Rectangle 32">
              <a:extLst>
                <a:ext uri="{FF2B5EF4-FFF2-40B4-BE49-F238E27FC236}">
                  <a16:creationId xmlns:a16="http://schemas.microsoft.com/office/drawing/2014/main" id="{AB2E44AE-D370-4AEC-B749-99CAF281B125}"/>
                </a:ext>
              </a:extLst>
            </p:cNvPr>
            <p:cNvSpPr/>
            <p:nvPr/>
          </p:nvSpPr>
          <p:spPr>
            <a:xfrm>
              <a:off x="7922317" y="3920032"/>
              <a:ext cx="3314549" cy="169269"/>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Always On Simulation + DCS Data</a:t>
              </a:r>
            </a:p>
          </p:txBody>
        </p:sp>
        <p:sp>
          <p:nvSpPr>
            <p:cNvPr id="34" name="Rectangle 33">
              <a:extLst>
                <a:ext uri="{FF2B5EF4-FFF2-40B4-BE49-F238E27FC236}">
                  <a16:creationId xmlns:a16="http://schemas.microsoft.com/office/drawing/2014/main" id="{6DB5B2F4-4A88-4EDA-80D0-5AAAA8D85E01}"/>
                </a:ext>
              </a:extLst>
            </p:cNvPr>
            <p:cNvSpPr/>
            <p:nvPr/>
          </p:nvSpPr>
          <p:spPr>
            <a:xfrm>
              <a:off x="9104151" y="1112708"/>
              <a:ext cx="2132522" cy="169269"/>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extualized Tools &amp; Data</a:t>
              </a:r>
            </a:p>
          </p:txBody>
        </p:sp>
        <p:cxnSp>
          <p:nvCxnSpPr>
            <p:cNvPr id="35" name="Straight Connector 34">
              <a:extLst>
                <a:ext uri="{FF2B5EF4-FFF2-40B4-BE49-F238E27FC236}">
                  <a16:creationId xmlns:a16="http://schemas.microsoft.com/office/drawing/2014/main" id="{A2919C2E-BF85-4D53-AD3B-A6A207988AC2}"/>
                </a:ext>
              </a:extLst>
            </p:cNvPr>
            <p:cNvCxnSpPr>
              <a:endCxn id="34" idx="1"/>
            </p:cNvCxnSpPr>
            <p:nvPr/>
          </p:nvCxnSpPr>
          <p:spPr>
            <a:xfrm flipV="1">
              <a:off x="7573413" y="1197343"/>
              <a:ext cx="1530738" cy="1254833"/>
            </a:xfrm>
            <a:prstGeom prst="line">
              <a:avLst/>
            </a:prstGeom>
            <a:ln w="381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082245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A7AB6F28-867E-4EE7-B763-8B0483908C6F}"/>
              </a:ext>
            </a:extLst>
          </p:cNvPr>
          <p:cNvGrpSpPr/>
          <p:nvPr/>
        </p:nvGrpSpPr>
        <p:grpSpPr>
          <a:xfrm>
            <a:off x="-13414524" y="-100520"/>
            <a:ext cx="26829048" cy="7059039"/>
            <a:chOff x="1619683" y="1112708"/>
            <a:chExt cx="19207022" cy="5053594"/>
          </a:xfrm>
        </p:grpSpPr>
        <p:grpSp>
          <p:nvGrpSpPr>
            <p:cNvPr id="7" name="Group 6">
              <a:extLst>
                <a:ext uri="{FF2B5EF4-FFF2-40B4-BE49-F238E27FC236}">
                  <a16:creationId xmlns:a16="http://schemas.microsoft.com/office/drawing/2014/main" id="{7DDF4A01-9373-4C76-82BE-5F188B5063D7}"/>
                </a:ext>
              </a:extLst>
            </p:cNvPr>
            <p:cNvGrpSpPr/>
            <p:nvPr/>
          </p:nvGrpSpPr>
          <p:grpSpPr>
            <a:xfrm>
              <a:off x="1619683" y="1112708"/>
              <a:ext cx="9617183" cy="5053594"/>
              <a:chOff x="1619683" y="1112708"/>
              <a:chExt cx="9617183" cy="5053594"/>
            </a:xfrm>
          </p:grpSpPr>
          <p:pic>
            <p:nvPicPr>
              <p:cNvPr id="11" name="Picture 10">
                <a:extLst>
                  <a:ext uri="{FF2B5EF4-FFF2-40B4-BE49-F238E27FC236}">
                    <a16:creationId xmlns:a16="http://schemas.microsoft.com/office/drawing/2014/main" id="{4948FAAB-3F29-416E-BBD5-5B2BE4437CC6}"/>
                  </a:ext>
                </a:extLst>
              </p:cNvPr>
              <p:cNvPicPr>
                <a:picLocks noChangeAspect="1"/>
              </p:cNvPicPr>
              <p:nvPr/>
            </p:nvPicPr>
            <p:blipFill rotWithShape="1">
              <a:blip r:embed="rId3"/>
              <a:srcRect t="7813" b="5428"/>
              <a:stretch/>
            </p:blipFill>
            <p:spPr>
              <a:xfrm>
                <a:off x="1619683" y="1652613"/>
                <a:ext cx="6740940" cy="3289683"/>
              </a:xfrm>
              <a:prstGeom prst="rect">
                <a:avLst/>
              </a:prstGeom>
              <a:ln>
                <a:noFill/>
              </a:ln>
            </p:spPr>
          </p:pic>
          <p:sp>
            <p:nvSpPr>
              <p:cNvPr id="12" name="Freeform: Shape 11">
                <a:extLst>
                  <a:ext uri="{FF2B5EF4-FFF2-40B4-BE49-F238E27FC236}">
                    <a16:creationId xmlns:a16="http://schemas.microsoft.com/office/drawing/2014/main" id="{2B67753A-463F-49EF-ABFB-86617B38B2F0}"/>
                  </a:ext>
                </a:extLst>
              </p:cNvPr>
              <p:cNvSpPr/>
              <p:nvPr/>
            </p:nvSpPr>
            <p:spPr>
              <a:xfrm>
                <a:off x="7588265" y="3512452"/>
                <a:ext cx="3633556" cy="2653850"/>
              </a:xfrm>
              <a:custGeom>
                <a:avLst/>
                <a:gdLst>
                  <a:gd name="connsiteX0" fmla="*/ 3595456 w 3595456"/>
                  <a:gd name="connsiteY0" fmla="*/ 639193 h 2610035"/>
                  <a:gd name="connsiteX1" fmla="*/ 124287 w 3595456"/>
                  <a:gd name="connsiteY1" fmla="*/ 0 h 2610035"/>
                  <a:gd name="connsiteX2" fmla="*/ 0 w 3595456"/>
                  <a:gd name="connsiteY2" fmla="*/ 195309 h 2610035"/>
                  <a:gd name="connsiteX3" fmla="*/ 381739 w 3595456"/>
                  <a:gd name="connsiteY3" fmla="*/ 2610035 h 2610035"/>
                  <a:gd name="connsiteX4" fmla="*/ 381739 w 3595456"/>
                  <a:gd name="connsiteY4" fmla="*/ 2610035 h 2610035"/>
                  <a:gd name="connsiteX0" fmla="*/ 3633556 w 3633556"/>
                  <a:gd name="connsiteY0" fmla="*/ 574423 h 2610035"/>
                  <a:gd name="connsiteX1" fmla="*/ 124287 w 3633556"/>
                  <a:gd name="connsiteY1" fmla="*/ 0 h 2610035"/>
                  <a:gd name="connsiteX2" fmla="*/ 0 w 3633556"/>
                  <a:gd name="connsiteY2" fmla="*/ 195309 h 2610035"/>
                  <a:gd name="connsiteX3" fmla="*/ 381739 w 3633556"/>
                  <a:gd name="connsiteY3" fmla="*/ 2610035 h 2610035"/>
                  <a:gd name="connsiteX4" fmla="*/ 381739 w 3633556"/>
                  <a:gd name="connsiteY4" fmla="*/ 2610035 h 2610035"/>
                  <a:gd name="connsiteX0" fmla="*/ 3633556 w 3633556"/>
                  <a:gd name="connsiteY0" fmla="*/ 574423 h 2792398"/>
                  <a:gd name="connsiteX1" fmla="*/ 124287 w 3633556"/>
                  <a:gd name="connsiteY1" fmla="*/ 0 h 2792398"/>
                  <a:gd name="connsiteX2" fmla="*/ 0 w 3633556"/>
                  <a:gd name="connsiteY2" fmla="*/ 195309 h 2792398"/>
                  <a:gd name="connsiteX3" fmla="*/ 381739 w 3633556"/>
                  <a:gd name="connsiteY3" fmla="*/ 2610035 h 2792398"/>
                  <a:gd name="connsiteX4" fmla="*/ 341734 w 3633556"/>
                  <a:gd name="connsiteY4" fmla="*/ 2623370 h 2792398"/>
                  <a:gd name="connsiteX0" fmla="*/ 3633556 w 3633556"/>
                  <a:gd name="connsiteY0" fmla="*/ 574423 h 2825217"/>
                  <a:gd name="connsiteX1" fmla="*/ 124287 w 3633556"/>
                  <a:gd name="connsiteY1" fmla="*/ 0 h 2825217"/>
                  <a:gd name="connsiteX2" fmla="*/ 0 w 3633556"/>
                  <a:gd name="connsiteY2" fmla="*/ 195309 h 2825217"/>
                  <a:gd name="connsiteX3" fmla="*/ 330304 w 3633556"/>
                  <a:gd name="connsiteY3" fmla="*/ 2653850 h 2825217"/>
                  <a:gd name="connsiteX4" fmla="*/ 341734 w 3633556"/>
                  <a:gd name="connsiteY4" fmla="*/ 2623370 h 2825217"/>
                  <a:gd name="connsiteX0" fmla="*/ 3633556 w 3633556"/>
                  <a:gd name="connsiteY0" fmla="*/ 574423 h 2653850"/>
                  <a:gd name="connsiteX1" fmla="*/ 124287 w 3633556"/>
                  <a:gd name="connsiteY1" fmla="*/ 0 h 2653850"/>
                  <a:gd name="connsiteX2" fmla="*/ 0 w 3633556"/>
                  <a:gd name="connsiteY2" fmla="*/ 195309 h 2653850"/>
                  <a:gd name="connsiteX3" fmla="*/ 330304 w 3633556"/>
                  <a:gd name="connsiteY3" fmla="*/ 2653850 h 2653850"/>
                </a:gdLst>
                <a:ahLst/>
                <a:cxnLst>
                  <a:cxn ang="0">
                    <a:pos x="connsiteX0" y="connsiteY0"/>
                  </a:cxn>
                  <a:cxn ang="0">
                    <a:pos x="connsiteX1" y="connsiteY1"/>
                  </a:cxn>
                  <a:cxn ang="0">
                    <a:pos x="connsiteX2" y="connsiteY2"/>
                  </a:cxn>
                  <a:cxn ang="0">
                    <a:pos x="connsiteX3" y="connsiteY3"/>
                  </a:cxn>
                </a:cxnLst>
                <a:rect l="l" t="t" r="r" b="b"/>
                <a:pathLst>
                  <a:path w="3633556" h="2653850">
                    <a:moveTo>
                      <a:pt x="3633556" y="574423"/>
                    </a:moveTo>
                    <a:lnTo>
                      <a:pt x="124287" y="0"/>
                    </a:lnTo>
                    <a:lnTo>
                      <a:pt x="0" y="195309"/>
                    </a:lnTo>
                    <a:cubicBezTo>
                      <a:pt x="127246" y="1000218"/>
                      <a:pt x="273348" y="2249173"/>
                      <a:pt x="330304" y="2653850"/>
                    </a:cubicBezTo>
                  </a:path>
                </a:pathLst>
              </a:custGeom>
              <a:solidFill>
                <a:schemeClr val="accent2">
                  <a:lumMod val="75000"/>
                  <a:alpha val="57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13" name="Picture 12">
                <a:extLst>
                  <a:ext uri="{FF2B5EF4-FFF2-40B4-BE49-F238E27FC236}">
                    <a16:creationId xmlns:a16="http://schemas.microsoft.com/office/drawing/2014/main" id="{7181D1A3-2ACB-44AE-9BD9-88C5827C87CE}"/>
                  </a:ext>
                </a:extLst>
              </p:cNvPr>
              <p:cNvPicPr>
                <a:picLocks noChangeAspect="1"/>
              </p:cNvPicPr>
              <p:nvPr/>
            </p:nvPicPr>
            <p:blipFill rotWithShape="1">
              <a:blip r:embed="rId4"/>
              <a:srcRect t="24279" r="50533" b="20932"/>
              <a:stretch/>
            </p:blipFill>
            <p:spPr>
              <a:xfrm>
                <a:off x="7939954" y="4102338"/>
                <a:ext cx="3279277" cy="2043069"/>
              </a:xfrm>
              <a:prstGeom prst="rect">
                <a:avLst/>
              </a:prstGeom>
              <a:ln w="6350">
                <a:solidFill>
                  <a:schemeClr val="tx1"/>
                </a:solidFill>
              </a:ln>
            </p:spPr>
          </p:pic>
          <p:sp>
            <p:nvSpPr>
              <p:cNvPr id="14" name="Oval 13">
                <a:extLst>
                  <a:ext uri="{FF2B5EF4-FFF2-40B4-BE49-F238E27FC236}">
                    <a16:creationId xmlns:a16="http://schemas.microsoft.com/office/drawing/2014/main" id="{23708DF5-F18A-4BAA-B5BA-54191A54EFE3}"/>
                  </a:ext>
                </a:extLst>
              </p:cNvPr>
              <p:cNvSpPr/>
              <p:nvPr/>
            </p:nvSpPr>
            <p:spPr>
              <a:xfrm>
                <a:off x="7573413" y="3502925"/>
                <a:ext cx="225863" cy="225863"/>
              </a:xfrm>
              <a:prstGeom prst="ellipse">
                <a:avLst/>
              </a:prstGeom>
              <a:solidFill>
                <a:schemeClr val="bg1"/>
              </a:solidFill>
              <a:ln>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5" name="Picture 14">
                <a:extLst>
                  <a:ext uri="{FF2B5EF4-FFF2-40B4-BE49-F238E27FC236}">
                    <a16:creationId xmlns:a16="http://schemas.microsoft.com/office/drawing/2014/main" id="{A2580076-A633-4DE3-99D1-504AA0D17229}"/>
                  </a:ext>
                </a:extLst>
              </p:cNvPr>
              <p:cNvPicPr>
                <a:picLocks noChangeAspect="1"/>
              </p:cNvPicPr>
              <p:nvPr/>
            </p:nvPicPr>
            <p:blipFill rotWithShape="1">
              <a:blip r:embed="rId4"/>
              <a:srcRect t="24279" r="50533" b="20932"/>
              <a:stretch/>
            </p:blipFill>
            <p:spPr>
              <a:xfrm>
                <a:off x="7581410" y="3512452"/>
                <a:ext cx="209868" cy="20680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6" name="TextBox 15">
                <a:extLst>
                  <a:ext uri="{FF2B5EF4-FFF2-40B4-BE49-F238E27FC236}">
                    <a16:creationId xmlns:a16="http://schemas.microsoft.com/office/drawing/2014/main" id="{220CD1B1-B8A6-40C0-9B62-C9A9FB5A87D7}"/>
                  </a:ext>
                </a:extLst>
              </p:cNvPr>
              <p:cNvSpPr txBox="1"/>
              <p:nvPr/>
            </p:nvSpPr>
            <p:spPr>
              <a:xfrm>
                <a:off x="9696431" y="3648895"/>
                <a:ext cx="184731" cy="261610"/>
              </a:xfrm>
              <a:prstGeom prst="rect">
                <a:avLst/>
              </a:prstGeom>
              <a:noFill/>
            </p:spPr>
            <p:txBody>
              <a:bodyPr wrap="none" rtlCol="0">
                <a:spAutoFit/>
              </a:bodyPr>
              <a:lstStyle/>
              <a:p>
                <a:endParaRPr lang="en-US" sz="1100" b="1" dirty="0"/>
              </a:p>
            </p:txBody>
          </p:sp>
          <p:pic>
            <p:nvPicPr>
              <p:cNvPr id="17" name="Picture 16">
                <a:extLst>
                  <a:ext uri="{FF2B5EF4-FFF2-40B4-BE49-F238E27FC236}">
                    <a16:creationId xmlns:a16="http://schemas.microsoft.com/office/drawing/2014/main" id="{E1B4B021-AB96-428E-8532-4E797A976CE7}"/>
                  </a:ext>
                </a:extLst>
              </p:cNvPr>
              <p:cNvPicPr>
                <a:picLocks noChangeAspect="1"/>
              </p:cNvPicPr>
              <p:nvPr/>
            </p:nvPicPr>
            <p:blipFill rotWithShape="1">
              <a:blip r:embed="rId5"/>
              <a:srcRect l="12167" t="22059" r="52344" b="20315"/>
              <a:stretch/>
            </p:blipFill>
            <p:spPr>
              <a:xfrm>
                <a:off x="9086709" y="1288496"/>
                <a:ext cx="2149964" cy="2327360"/>
              </a:xfrm>
              <a:prstGeom prst="rect">
                <a:avLst/>
              </a:prstGeom>
            </p:spPr>
          </p:pic>
          <p:sp>
            <p:nvSpPr>
              <p:cNvPr id="18" name="Rectangle 17">
                <a:extLst>
                  <a:ext uri="{FF2B5EF4-FFF2-40B4-BE49-F238E27FC236}">
                    <a16:creationId xmlns:a16="http://schemas.microsoft.com/office/drawing/2014/main" id="{CA016997-5D9D-41F1-BCDE-F81F8CE169AB}"/>
                  </a:ext>
                </a:extLst>
              </p:cNvPr>
              <p:cNvSpPr/>
              <p:nvPr/>
            </p:nvSpPr>
            <p:spPr>
              <a:xfrm>
                <a:off x="7922317" y="3920032"/>
                <a:ext cx="3314549" cy="169269"/>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Always On Simulation + DCS Data</a:t>
                </a:r>
              </a:p>
            </p:txBody>
          </p:sp>
          <p:sp>
            <p:nvSpPr>
              <p:cNvPr id="19" name="Rectangle 18">
                <a:extLst>
                  <a:ext uri="{FF2B5EF4-FFF2-40B4-BE49-F238E27FC236}">
                    <a16:creationId xmlns:a16="http://schemas.microsoft.com/office/drawing/2014/main" id="{BB86032A-BBBD-4B39-A08A-8663824BD4FE}"/>
                  </a:ext>
                </a:extLst>
              </p:cNvPr>
              <p:cNvSpPr/>
              <p:nvPr/>
            </p:nvSpPr>
            <p:spPr>
              <a:xfrm>
                <a:off x="9104151" y="1112708"/>
                <a:ext cx="2132522" cy="169269"/>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extualized Tools &amp; Data</a:t>
                </a:r>
              </a:p>
            </p:txBody>
          </p:sp>
          <p:cxnSp>
            <p:nvCxnSpPr>
              <p:cNvPr id="20" name="Straight Connector 19">
                <a:extLst>
                  <a:ext uri="{FF2B5EF4-FFF2-40B4-BE49-F238E27FC236}">
                    <a16:creationId xmlns:a16="http://schemas.microsoft.com/office/drawing/2014/main" id="{5677952F-00F2-4944-BADE-492BA1DBF6F5}"/>
                  </a:ext>
                </a:extLst>
              </p:cNvPr>
              <p:cNvCxnSpPr>
                <a:endCxn id="19" idx="1"/>
              </p:cNvCxnSpPr>
              <p:nvPr/>
            </p:nvCxnSpPr>
            <p:spPr>
              <a:xfrm flipV="1">
                <a:off x="7573413" y="1197343"/>
                <a:ext cx="1530738" cy="1254833"/>
              </a:xfrm>
              <a:prstGeom prst="line">
                <a:avLst/>
              </a:prstGeom>
              <a:ln w="38100"/>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610DC5D3-CE6A-44BA-AF10-B335CE98D99A}"/>
                </a:ext>
              </a:extLst>
            </p:cNvPr>
            <p:cNvGrpSpPr/>
            <p:nvPr/>
          </p:nvGrpSpPr>
          <p:grpSpPr>
            <a:xfrm>
              <a:off x="11520288" y="1138004"/>
              <a:ext cx="9306417" cy="4840841"/>
              <a:chOff x="2124075" y="1536700"/>
              <a:chExt cx="8300378" cy="4275165"/>
            </a:xfrm>
          </p:grpSpPr>
          <p:pic>
            <p:nvPicPr>
              <p:cNvPr id="9" name="Picture 8">
                <a:extLst>
                  <a:ext uri="{FF2B5EF4-FFF2-40B4-BE49-F238E27FC236}">
                    <a16:creationId xmlns:a16="http://schemas.microsoft.com/office/drawing/2014/main" id="{8869E924-DE13-4185-BE12-9EA69F098944}"/>
                  </a:ext>
                </a:extLst>
              </p:cNvPr>
              <p:cNvPicPr>
                <a:picLocks noChangeAspect="1"/>
              </p:cNvPicPr>
              <p:nvPr/>
            </p:nvPicPr>
            <p:blipFill>
              <a:blip r:embed="rId6"/>
              <a:stretch>
                <a:fillRect/>
              </a:stretch>
            </p:blipFill>
            <p:spPr>
              <a:xfrm>
                <a:off x="2124075" y="1536700"/>
                <a:ext cx="8300378" cy="4275165"/>
              </a:xfrm>
              <a:prstGeom prst="rect">
                <a:avLst/>
              </a:prstGeom>
              <a:ln>
                <a:noFill/>
              </a:ln>
            </p:spPr>
          </p:pic>
          <p:sp>
            <p:nvSpPr>
              <p:cNvPr id="10" name="Rectangle 9">
                <a:extLst>
                  <a:ext uri="{FF2B5EF4-FFF2-40B4-BE49-F238E27FC236}">
                    <a16:creationId xmlns:a16="http://schemas.microsoft.com/office/drawing/2014/main" id="{1B26E8E5-9E4E-4534-816B-ACA8EA750435}"/>
                  </a:ext>
                </a:extLst>
              </p:cNvPr>
              <p:cNvSpPr/>
              <p:nvPr/>
            </p:nvSpPr>
            <p:spPr>
              <a:xfrm>
                <a:off x="2124075" y="1543050"/>
                <a:ext cx="584200" cy="132835"/>
              </a:xfrm>
              <a:prstGeom prst="rect">
                <a:avLst/>
              </a:prstGeom>
              <a:solidFill>
                <a:srgbClr val="FBCE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ID4096"/>
              </a:p>
            </p:txBody>
          </p:sp>
        </p:grpSp>
      </p:grpSp>
    </p:spTree>
    <p:extLst>
      <p:ext uri="{BB962C8B-B14F-4D97-AF65-F5344CB8AC3E}">
        <p14:creationId xmlns:p14="http://schemas.microsoft.com/office/powerpoint/2010/main" val="357486552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AD4063-BCC5-4557-9D90-75529A50CD92}"/>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F5FE6623-7DD2-453D-B7F8-D02868A852A7}"/>
              </a:ext>
            </a:extLst>
          </p:cNvPr>
          <p:cNvSpPr>
            <a:spLocks noGrp="1"/>
          </p:cNvSpPr>
          <p:nvPr>
            <p:ph sz="half" idx="1"/>
          </p:nvPr>
        </p:nvSpPr>
        <p:spPr/>
        <p:txBody>
          <a:bodyPr/>
          <a:lstStyle/>
          <a:p>
            <a:endParaRPr lang="en-US"/>
          </a:p>
        </p:txBody>
      </p:sp>
      <p:sp>
        <p:nvSpPr>
          <p:cNvPr id="4" name="Text Placeholder 3">
            <a:extLst>
              <a:ext uri="{FF2B5EF4-FFF2-40B4-BE49-F238E27FC236}">
                <a16:creationId xmlns:a16="http://schemas.microsoft.com/office/drawing/2014/main" id="{3FA42086-91E4-48A0-863F-9B14C69F10A2}"/>
              </a:ext>
            </a:extLst>
          </p:cNvPr>
          <p:cNvSpPr>
            <a:spLocks noGrp="1"/>
          </p:cNvSpPr>
          <p:nvPr>
            <p:ph type="body" sz="quarter" idx="16"/>
          </p:nvPr>
        </p:nvSpPr>
        <p:spPr/>
        <p:txBody>
          <a:bodyPr/>
          <a:lstStyle/>
          <a:p>
            <a:endParaRPr lang="en-US"/>
          </a:p>
        </p:txBody>
      </p:sp>
      <p:sp>
        <p:nvSpPr>
          <p:cNvPr id="5" name="Slide Number Placeholder 4">
            <a:extLst>
              <a:ext uri="{FF2B5EF4-FFF2-40B4-BE49-F238E27FC236}">
                <a16:creationId xmlns:a16="http://schemas.microsoft.com/office/drawing/2014/main" id="{926906A3-239E-475D-899E-29D7F806F9FD}"/>
              </a:ext>
            </a:extLst>
          </p:cNvPr>
          <p:cNvSpPr>
            <a:spLocks noGrp="1"/>
          </p:cNvSpPr>
          <p:nvPr>
            <p:ph type="sldNum" sz="quarter" idx="18"/>
          </p:nvPr>
        </p:nvSpPr>
        <p:spPr/>
        <p:txBody>
          <a:bodyPr/>
          <a:lstStyle/>
          <a:p>
            <a:fld id="{7A3F00B2-786C-401B-9EB3-42A9D0DD4A9F}" type="slidenum">
              <a:rPr lang="nb-NO" smtClean="0"/>
              <a:pPr/>
              <a:t>13</a:t>
            </a:fld>
            <a:endParaRPr lang="nb-NO"/>
          </a:p>
        </p:txBody>
      </p:sp>
      <p:grpSp>
        <p:nvGrpSpPr>
          <p:cNvPr id="6" name="Group 5">
            <a:extLst>
              <a:ext uri="{FF2B5EF4-FFF2-40B4-BE49-F238E27FC236}">
                <a16:creationId xmlns:a16="http://schemas.microsoft.com/office/drawing/2014/main" id="{0B16C528-16D6-4A21-89C1-C4F8BF14134B}"/>
              </a:ext>
            </a:extLst>
          </p:cNvPr>
          <p:cNvGrpSpPr/>
          <p:nvPr/>
        </p:nvGrpSpPr>
        <p:grpSpPr>
          <a:xfrm>
            <a:off x="-20314258" y="-152400"/>
            <a:ext cx="31422764" cy="8267700"/>
            <a:chOff x="1619683" y="1112708"/>
            <a:chExt cx="19207022" cy="5053594"/>
          </a:xfrm>
        </p:grpSpPr>
        <p:grpSp>
          <p:nvGrpSpPr>
            <p:cNvPr id="7" name="Group 6">
              <a:extLst>
                <a:ext uri="{FF2B5EF4-FFF2-40B4-BE49-F238E27FC236}">
                  <a16:creationId xmlns:a16="http://schemas.microsoft.com/office/drawing/2014/main" id="{16F9A39A-A071-41F2-9F13-EEC4E58B9EA5}"/>
                </a:ext>
              </a:extLst>
            </p:cNvPr>
            <p:cNvGrpSpPr/>
            <p:nvPr/>
          </p:nvGrpSpPr>
          <p:grpSpPr>
            <a:xfrm>
              <a:off x="1619683" y="1112708"/>
              <a:ext cx="9617183" cy="5053594"/>
              <a:chOff x="1619683" y="1112708"/>
              <a:chExt cx="9617183" cy="5053594"/>
            </a:xfrm>
          </p:grpSpPr>
          <p:pic>
            <p:nvPicPr>
              <p:cNvPr id="11" name="Picture 10">
                <a:extLst>
                  <a:ext uri="{FF2B5EF4-FFF2-40B4-BE49-F238E27FC236}">
                    <a16:creationId xmlns:a16="http://schemas.microsoft.com/office/drawing/2014/main" id="{A933BD66-3EE2-4894-8092-185C811F3AE0}"/>
                  </a:ext>
                </a:extLst>
              </p:cNvPr>
              <p:cNvPicPr>
                <a:picLocks noChangeAspect="1"/>
              </p:cNvPicPr>
              <p:nvPr/>
            </p:nvPicPr>
            <p:blipFill rotWithShape="1">
              <a:blip r:embed="rId3"/>
              <a:srcRect t="7813" b="5428"/>
              <a:stretch/>
            </p:blipFill>
            <p:spPr>
              <a:xfrm>
                <a:off x="1619683" y="1652613"/>
                <a:ext cx="6740940" cy="3289683"/>
              </a:xfrm>
              <a:prstGeom prst="rect">
                <a:avLst/>
              </a:prstGeom>
              <a:ln>
                <a:noFill/>
              </a:ln>
            </p:spPr>
          </p:pic>
          <p:sp>
            <p:nvSpPr>
              <p:cNvPr id="12" name="Freeform: Shape 11">
                <a:extLst>
                  <a:ext uri="{FF2B5EF4-FFF2-40B4-BE49-F238E27FC236}">
                    <a16:creationId xmlns:a16="http://schemas.microsoft.com/office/drawing/2014/main" id="{F04AD169-54EF-4CFC-94E6-69739AC269C9}"/>
                  </a:ext>
                </a:extLst>
              </p:cNvPr>
              <p:cNvSpPr/>
              <p:nvPr/>
            </p:nvSpPr>
            <p:spPr>
              <a:xfrm>
                <a:off x="7588265" y="3512452"/>
                <a:ext cx="3633556" cy="2653850"/>
              </a:xfrm>
              <a:custGeom>
                <a:avLst/>
                <a:gdLst>
                  <a:gd name="connsiteX0" fmla="*/ 3595456 w 3595456"/>
                  <a:gd name="connsiteY0" fmla="*/ 639193 h 2610035"/>
                  <a:gd name="connsiteX1" fmla="*/ 124287 w 3595456"/>
                  <a:gd name="connsiteY1" fmla="*/ 0 h 2610035"/>
                  <a:gd name="connsiteX2" fmla="*/ 0 w 3595456"/>
                  <a:gd name="connsiteY2" fmla="*/ 195309 h 2610035"/>
                  <a:gd name="connsiteX3" fmla="*/ 381739 w 3595456"/>
                  <a:gd name="connsiteY3" fmla="*/ 2610035 h 2610035"/>
                  <a:gd name="connsiteX4" fmla="*/ 381739 w 3595456"/>
                  <a:gd name="connsiteY4" fmla="*/ 2610035 h 2610035"/>
                  <a:gd name="connsiteX0" fmla="*/ 3633556 w 3633556"/>
                  <a:gd name="connsiteY0" fmla="*/ 574423 h 2610035"/>
                  <a:gd name="connsiteX1" fmla="*/ 124287 w 3633556"/>
                  <a:gd name="connsiteY1" fmla="*/ 0 h 2610035"/>
                  <a:gd name="connsiteX2" fmla="*/ 0 w 3633556"/>
                  <a:gd name="connsiteY2" fmla="*/ 195309 h 2610035"/>
                  <a:gd name="connsiteX3" fmla="*/ 381739 w 3633556"/>
                  <a:gd name="connsiteY3" fmla="*/ 2610035 h 2610035"/>
                  <a:gd name="connsiteX4" fmla="*/ 381739 w 3633556"/>
                  <a:gd name="connsiteY4" fmla="*/ 2610035 h 2610035"/>
                  <a:gd name="connsiteX0" fmla="*/ 3633556 w 3633556"/>
                  <a:gd name="connsiteY0" fmla="*/ 574423 h 2792398"/>
                  <a:gd name="connsiteX1" fmla="*/ 124287 w 3633556"/>
                  <a:gd name="connsiteY1" fmla="*/ 0 h 2792398"/>
                  <a:gd name="connsiteX2" fmla="*/ 0 w 3633556"/>
                  <a:gd name="connsiteY2" fmla="*/ 195309 h 2792398"/>
                  <a:gd name="connsiteX3" fmla="*/ 381739 w 3633556"/>
                  <a:gd name="connsiteY3" fmla="*/ 2610035 h 2792398"/>
                  <a:gd name="connsiteX4" fmla="*/ 341734 w 3633556"/>
                  <a:gd name="connsiteY4" fmla="*/ 2623370 h 2792398"/>
                  <a:gd name="connsiteX0" fmla="*/ 3633556 w 3633556"/>
                  <a:gd name="connsiteY0" fmla="*/ 574423 h 2825217"/>
                  <a:gd name="connsiteX1" fmla="*/ 124287 w 3633556"/>
                  <a:gd name="connsiteY1" fmla="*/ 0 h 2825217"/>
                  <a:gd name="connsiteX2" fmla="*/ 0 w 3633556"/>
                  <a:gd name="connsiteY2" fmla="*/ 195309 h 2825217"/>
                  <a:gd name="connsiteX3" fmla="*/ 330304 w 3633556"/>
                  <a:gd name="connsiteY3" fmla="*/ 2653850 h 2825217"/>
                  <a:gd name="connsiteX4" fmla="*/ 341734 w 3633556"/>
                  <a:gd name="connsiteY4" fmla="*/ 2623370 h 2825217"/>
                  <a:gd name="connsiteX0" fmla="*/ 3633556 w 3633556"/>
                  <a:gd name="connsiteY0" fmla="*/ 574423 h 2653850"/>
                  <a:gd name="connsiteX1" fmla="*/ 124287 w 3633556"/>
                  <a:gd name="connsiteY1" fmla="*/ 0 h 2653850"/>
                  <a:gd name="connsiteX2" fmla="*/ 0 w 3633556"/>
                  <a:gd name="connsiteY2" fmla="*/ 195309 h 2653850"/>
                  <a:gd name="connsiteX3" fmla="*/ 330304 w 3633556"/>
                  <a:gd name="connsiteY3" fmla="*/ 2653850 h 2653850"/>
                </a:gdLst>
                <a:ahLst/>
                <a:cxnLst>
                  <a:cxn ang="0">
                    <a:pos x="connsiteX0" y="connsiteY0"/>
                  </a:cxn>
                  <a:cxn ang="0">
                    <a:pos x="connsiteX1" y="connsiteY1"/>
                  </a:cxn>
                  <a:cxn ang="0">
                    <a:pos x="connsiteX2" y="connsiteY2"/>
                  </a:cxn>
                  <a:cxn ang="0">
                    <a:pos x="connsiteX3" y="connsiteY3"/>
                  </a:cxn>
                </a:cxnLst>
                <a:rect l="l" t="t" r="r" b="b"/>
                <a:pathLst>
                  <a:path w="3633556" h="2653850">
                    <a:moveTo>
                      <a:pt x="3633556" y="574423"/>
                    </a:moveTo>
                    <a:lnTo>
                      <a:pt x="124287" y="0"/>
                    </a:lnTo>
                    <a:lnTo>
                      <a:pt x="0" y="195309"/>
                    </a:lnTo>
                    <a:cubicBezTo>
                      <a:pt x="127246" y="1000218"/>
                      <a:pt x="273348" y="2249173"/>
                      <a:pt x="330304" y="2653850"/>
                    </a:cubicBezTo>
                  </a:path>
                </a:pathLst>
              </a:custGeom>
              <a:solidFill>
                <a:schemeClr val="accent2">
                  <a:lumMod val="75000"/>
                  <a:alpha val="57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13" name="Picture 12">
                <a:extLst>
                  <a:ext uri="{FF2B5EF4-FFF2-40B4-BE49-F238E27FC236}">
                    <a16:creationId xmlns:a16="http://schemas.microsoft.com/office/drawing/2014/main" id="{B6F5017D-B7E0-49E0-B8E4-C4E14680B664}"/>
                  </a:ext>
                </a:extLst>
              </p:cNvPr>
              <p:cNvPicPr>
                <a:picLocks noChangeAspect="1"/>
              </p:cNvPicPr>
              <p:nvPr/>
            </p:nvPicPr>
            <p:blipFill rotWithShape="1">
              <a:blip r:embed="rId4"/>
              <a:srcRect t="24279" r="50533" b="20932"/>
              <a:stretch/>
            </p:blipFill>
            <p:spPr>
              <a:xfrm>
                <a:off x="7939954" y="4102338"/>
                <a:ext cx="3279277" cy="2043069"/>
              </a:xfrm>
              <a:prstGeom prst="rect">
                <a:avLst/>
              </a:prstGeom>
              <a:ln w="6350">
                <a:solidFill>
                  <a:schemeClr val="tx1"/>
                </a:solidFill>
              </a:ln>
            </p:spPr>
          </p:pic>
          <p:sp>
            <p:nvSpPr>
              <p:cNvPr id="14" name="Oval 13">
                <a:extLst>
                  <a:ext uri="{FF2B5EF4-FFF2-40B4-BE49-F238E27FC236}">
                    <a16:creationId xmlns:a16="http://schemas.microsoft.com/office/drawing/2014/main" id="{F5B84D92-ED61-4BA4-A077-78E6FC33A2DC}"/>
                  </a:ext>
                </a:extLst>
              </p:cNvPr>
              <p:cNvSpPr/>
              <p:nvPr/>
            </p:nvSpPr>
            <p:spPr>
              <a:xfrm>
                <a:off x="7573413" y="3502925"/>
                <a:ext cx="225863" cy="225863"/>
              </a:xfrm>
              <a:prstGeom prst="ellipse">
                <a:avLst/>
              </a:prstGeom>
              <a:solidFill>
                <a:schemeClr val="bg1"/>
              </a:solidFill>
              <a:ln>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5" name="Picture 14">
                <a:extLst>
                  <a:ext uri="{FF2B5EF4-FFF2-40B4-BE49-F238E27FC236}">
                    <a16:creationId xmlns:a16="http://schemas.microsoft.com/office/drawing/2014/main" id="{1B40FBE1-53B2-417A-A804-73581F157EC2}"/>
                  </a:ext>
                </a:extLst>
              </p:cNvPr>
              <p:cNvPicPr>
                <a:picLocks noChangeAspect="1"/>
              </p:cNvPicPr>
              <p:nvPr/>
            </p:nvPicPr>
            <p:blipFill rotWithShape="1">
              <a:blip r:embed="rId4"/>
              <a:srcRect t="24279" r="50533" b="20932"/>
              <a:stretch/>
            </p:blipFill>
            <p:spPr>
              <a:xfrm>
                <a:off x="7581410" y="3512452"/>
                <a:ext cx="209868" cy="20680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6" name="TextBox 15">
                <a:extLst>
                  <a:ext uri="{FF2B5EF4-FFF2-40B4-BE49-F238E27FC236}">
                    <a16:creationId xmlns:a16="http://schemas.microsoft.com/office/drawing/2014/main" id="{03A90182-DA3C-4038-AC49-670C9DA0F1C9}"/>
                  </a:ext>
                </a:extLst>
              </p:cNvPr>
              <p:cNvSpPr txBox="1"/>
              <p:nvPr/>
            </p:nvSpPr>
            <p:spPr>
              <a:xfrm>
                <a:off x="9696431" y="3648895"/>
                <a:ext cx="184731" cy="261610"/>
              </a:xfrm>
              <a:prstGeom prst="rect">
                <a:avLst/>
              </a:prstGeom>
              <a:noFill/>
            </p:spPr>
            <p:txBody>
              <a:bodyPr wrap="none" rtlCol="0">
                <a:spAutoFit/>
              </a:bodyPr>
              <a:lstStyle/>
              <a:p>
                <a:endParaRPr lang="en-US" sz="1100" b="1" dirty="0"/>
              </a:p>
            </p:txBody>
          </p:sp>
          <p:pic>
            <p:nvPicPr>
              <p:cNvPr id="17" name="Picture 16">
                <a:extLst>
                  <a:ext uri="{FF2B5EF4-FFF2-40B4-BE49-F238E27FC236}">
                    <a16:creationId xmlns:a16="http://schemas.microsoft.com/office/drawing/2014/main" id="{CF267E58-C225-43D1-B34A-3338DB19A43B}"/>
                  </a:ext>
                </a:extLst>
              </p:cNvPr>
              <p:cNvPicPr>
                <a:picLocks noChangeAspect="1"/>
              </p:cNvPicPr>
              <p:nvPr/>
            </p:nvPicPr>
            <p:blipFill rotWithShape="1">
              <a:blip r:embed="rId5"/>
              <a:srcRect l="12167" t="22059" r="52344" b="20315"/>
              <a:stretch/>
            </p:blipFill>
            <p:spPr>
              <a:xfrm>
                <a:off x="9086709" y="1288496"/>
                <a:ext cx="2149964" cy="2327360"/>
              </a:xfrm>
              <a:prstGeom prst="rect">
                <a:avLst/>
              </a:prstGeom>
            </p:spPr>
          </p:pic>
          <p:sp>
            <p:nvSpPr>
              <p:cNvPr id="18" name="Rectangle 17">
                <a:extLst>
                  <a:ext uri="{FF2B5EF4-FFF2-40B4-BE49-F238E27FC236}">
                    <a16:creationId xmlns:a16="http://schemas.microsoft.com/office/drawing/2014/main" id="{C1468EA8-E8A3-483C-AFA5-901B50BC2FF2}"/>
                  </a:ext>
                </a:extLst>
              </p:cNvPr>
              <p:cNvSpPr/>
              <p:nvPr/>
            </p:nvSpPr>
            <p:spPr>
              <a:xfrm>
                <a:off x="7922317" y="3920032"/>
                <a:ext cx="3314549" cy="169269"/>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Always On Simulation + DCS Data</a:t>
                </a:r>
              </a:p>
            </p:txBody>
          </p:sp>
          <p:sp>
            <p:nvSpPr>
              <p:cNvPr id="19" name="Rectangle 18">
                <a:extLst>
                  <a:ext uri="{FF2B5EF4-FFF2-40B4-BE49-F238E27FC236}">
                    <a16:creationId xmlns:a16="http://schemas.microsoft.com/office/drawing/2014/main" id="{B619FC2E-47BA-4DDA-B2D3-817F5786E955}"/>
                  </a:ext>
                </a:extLst>
              </p:cNvPr>
              <p:cNvSpPr/>
              <p:nvPr/>
            </p:nvSpPr>
            <p:spPr>
              <a:xfrm>
                <a:off x="9104151" y="1112708"/>
                <a:ext cx="2132522" cy="169269"/>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extualized Tools &amp; Data</a:t>
                </a:r>
              </a:p>
            </p:txBody>
          </p:sp>
          <p:cxnSp>
            <p:nvCxnSpPr>
              <p:cNvPr id="20" name="Straight Connector 19">
                <a:extLst>
                  <a:ext uri="{FF2B5EF4-FFF2-40B4-BE49-F238E27FC236}">
                    <a16:creationId xmlns:a16="http://schemas.microsoft.com/office/drawing/2014/main" id="{0F84CA4B-781B-4770-AD38-91DA95DC4182}"/>
                  </a:ext>
                </a:extLst>
              </p:cNvPr>
              <p:cNvCxnSpPr>
                <a:endCxn id="19" idx="1"/>
              </p:cNvCxnSpPr>
              <p:nvPr/>
            </p:nvCxnSpPr>
            <p:spPr>
              <a:xfrm flipV="1">
                <a:off x="7573413" y="1197343"/>
                <a:ext cx="1530738" cy="1254833"/>
              </a:xfrm>
              <a:prstGeom prst="line">
                <a:avLst/>
              </a:prstGeom>
              <a:ln w="38100"/>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0C5DE068-2A85-4327-B360-D77094CB7ED0}"/>
                </a:ext>
              </a:extLst>
            </p:cNvPr>
            <p:cNvGrpSpPr/>
            <p:nvPr/>
          </p:nvGrpSpPr>
          <p:grpSpPr>
            <a:xfrm>
              <a:off x="11520288" y="1138004"/>
              <a:ext cx="9306417" cy="4840841"/>
              <a:chOff x="2124075" y="1536700"/>
              <a:chExt cx="8300378" cy="4275165"/>
            </a:xfrm>
          </p:grpSpPr>
          <p:pic>
            <p:nvPicPr>
              <p:cNvPr id="9" name="Picture 8">
                <a:extLst>
                  <a:ext uri="{FF2B5EF4-FFF2-40B4-BE49-F238E27FC236}">
                    <a16:creationId xmlns:a16="http://schemas.microsoft.com/office/drawing/2014/main" id="{008C80FC-E51F-490C-B95B-8B37DFA6875A}"/>
                  </a:ext>
                </a:extLst>
              </p:cNvPr>
              <p:cNvPicPr>
                <a:picLocks noChangeAspect="1"/>
              </p:cNvPicPr>
              <p:nvPr/>
            </p:nvPicPr>
            <p:blipFill>
              <a:blip r:embed="rId6"/>
              <a:stretch>
                <a:fillRect/>
              </a:stretch>
            </p:blipFill>
            <p:spPr>
              <a:xfrm>
                <a:off x="2124075" y="1536700"/>
                <a:ext cx="8300378" cy="4275165"/>
              </a:xfrm>
              <a:prstGeom prst="rect">
                <a:avLst/>
              </a:prstGeom>
              <a:ln>
                <a:noFill/>
              </a:ln>
            </p:spPr>
          </p:pic>
          <p:sp>
            <p:nvSpPr>
              <p:cNvPr id="10" name="Rectangle 9">
                <a:extLst>
                  <a:ext uri="{FF2B5EF4-FFF2-40B4-BE49-F238E27FC236}">
                    <a16:creationId xmlns:a16="http://schemas.microsoft.com/office/drawing/2014/main" id="{1931DE35-C23C-420C-8457-7139AA2D610B}"/>
                  </a:ext>
                </a:extLst>
              </p:cNvPr>
              <p:cNvSpPr/>
              <p:nvPr/>
            </p:nvSpPr>
            <p:spPr>
              <a:xfrm>
                <a:off x="2124075" y="1543050"/>
                <a:ext cx="584200" cy="132835"/>
              </a:xfrm>
              <a:prstGeom prst="rect">
                <a:avLst/>
              </a:prstGeom>
              <a:solidFill>
                <a:srgbClr val="FBCE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ID4096"/>
              </a:p>
            </p:txBody>
          </p:sp>
        </p:grpSp>
      </p:grpSp>
    </p:spTree>
    <p:extLst>
      <p:ext uri="{BB962C8B-B14F-4D97-AF65-F5344CB8AC3E}">
        <p14:creationId xmlns:p14="http://schemas.microsoft.com/office/powerpoint/2010/main" val="23059560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65383F-AF6C-4A37-AC81-A4FA1A317FD7}"/>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75CC6B72-B10E-440C-AFD6-C9D77DD202CE}"/>
              </a:ext>
            </a:extLst>
          </p:cNvPr>
          <p:cNvSpPr>
            <a:spLocks noGrp="1"/>
          </p:cNvSpPr>
          <p:nvPr>
            <p:ph sz="half" idx="1"/>
          </p:nvPr>
        </p:nvSpPr>
        <p:spPr/>
        <p:txBody>
          <a:bodyPr/>
          <a:lstStyle/>
          <a:p>
            <a:endParaRPr lang="en-US"/>
          </a:p>
        </p:txBody>
      </p:sp>
      <p:sp>
        <p:nvSpPr>
          <p:cNvPr id="4" name="Text Placeholder 3">
            <a:extLst>
              <a:ext uri="{FF2B5EF4-FFF2-40B4-BE49-F238E27FC236}">
                <a16:creationId xmlns:a16="http://schemas.microsoft.com/office/drawing/2014/main" id="{41855C5A-8B87-4804-BF02-A6B993829E3C}"/>
              </a:ext>
            </a:extLst>
          </p:cNvPr>
          <p:cNvSpPr>
            <a:spLocks noGrp="1"/>
          </p:cNvSpPr>
          <p:nvPr>
            <p:ph type="body" sz="quarter" idx="16"/>
          </p:nvPr>
        </p:nvSpPr>
        <p:spPr/>
        <p:txBody>
          <a:bodyPr/>
          <a:lstStyle/>
          <a:p>
            <a:endParaRPr lang="en-US"/>
          </a:p>
        </p:txBody>
      </p:sp>
      <p:sp>
        <p:nvSpPr>
          <p:cNvPr id="5" name="Slide Number Placeholder 4">
            <a:extLst>
              <a:ext uri="{FF2B5EF4-FFF2-40B4-BE49-F238E27FC236}">
                <a16:creationId xmlns:a16="http://schemas.microsoft.com/office/drawing/2014/main" id="{81267759-9A48-4BCD-AF2E-C60CB80640E5}"/>
              </a:ext>
            </a:extLst>
          </p:cNvPr>
          <p:cNvSpPr>
            <a:spLocks noGrp="1"/>
          </p:cNvSpPr>
          <p:nvPr>
            <p:ph type="sldNum" sz="quarter" idx="18"/>
          </p:nvPr>
        </p:nvSpPr>
        <p:spPr/>
        <p:txBody>
          <a:bodyPr/>
          <a:lstStyle/>
          <a:p>
            <a:fld id="{7A3F00B2-786C-401B-9EB3-42A9D0DD4A9F}" type="slidenum">
              <a:rPr lang="nb-NO" smtClean="0"/>
              <a:pPr/>
              <a:t>14</a:t>
            </a:fld>
            <a:endParaRPr lang="nb-NO"/>
          </a:p>
        </p:txBody>
      </p:sp>
      <p:grpSp>
        <p:nvGrpSpPr>
          <p:cNvPr id="6" name="Group 5">
            <a:extLst>
              <a:ext uri="{FF2B5EF4-FFF2-40B4-BE49-F238E27FC236}">
                <a16:creationId xmlns:a16="http://schemas.microsoft.com/office/drawing/2014/main" id="{3AEB76C4-C7DA-4278-B49D-D34E9022F158}"/>
              </a:ext>
            </a:extLst>
          </p:cNvPr>
          <p:cNvGrpSpPr/>
          <p:nvPr/>
        </p:nvGrpSpPr>
        <p:grpSpPr>
          <a:xfrm>
            <a:off x="-27961815" y="-4209161"/>
            <a:ext cx="39183636" cy="10309677"/>
            <a:chOff x="1619683" y="1112708"/>
            <a:chExt cx="19207022" cy="5053594"/>
          </a:xfrm>
        </p:grpSpPr>
        <p:grpSp>
          <p:nvGrpSpPr>
            <p:cNvPr id="7" name="Group 6">
              <a:extLst>
                <a:ext uri="{FF2B5EF4-FFF2-40B4-BE49-F238E27FC236}">
                  <a16:creationId xmlns:a16="http://schemas.microsoft.com/office/drawing/2014/main" id="{F92F4DB4-AB77-490D-B2EC-278250C616FC}"/>
                </a:ext>
              </a:extLst>
            </p:cNvPr>
            <p:cNvGrpSpPr/>
            <p:nvPr/>
          </p:nvGrpSpPr>
          <p:grpSpPr>
            <a:xfrm>
              <a:off x="1619683" y="1112708"/>
              <a:ext cx="9617183" cy="5053594"/>
              <a:chOff x="1619683" y="1112708"/>
              <a:chExt cx="9617183" cy="5053594"/>
            </a:xfrm>
          </p:grpSpPr>
          <p:pic>
            <p:nvPicPr>
              <p:cNvPr id="11" name="Picture 10">
                <a:extLst>
                  <a:ext uri="{FF2B5EF4-FFF2-40B4-BE49-F238E27FC236}">
                    <a16:creationId xmlns:a16="http://schemas.microsoft.com/office/drawing/2014/main" id="{27032F64-B5C5-4DE2-8BE0-4E5C29EF149F}"/>
                  </a:ext>
                </a:extLst>
              </p:cNvPr>
              <p:cNvPicPr>
                <a:picLocks noChangeAspect="1"/>
              </p:cNvPicPr>
              <p:nvPr/>
            </p:nvPicPr>
            <p:blipFill rotWithShape="1">
              <a:blip r:embed="rId3"/>
              <a:srcRect t="7813" b="5428"/>
              <a:stretch/>
            </p:blipFill>
            <p:spPr>
              <a:xfrm>
                <a:off x="1619683" y="1652613"/>
                <a:ext cx="6740940" cy="3289683"/>
              </a:xfrm>
              <a:prstGeom prst="rect">
                <a:avLst/>
              </a:prstGeom>
              <a:ln>
                <a:noFill/>
              </a:ln>
            </p:spPr>
          </p:pic>
          <p:sp>
            <p:nvSpPr>
              <p:cNvPr id="12" name="Freeform: Shape 11">
                <a:extLst>
                  <a:ext uri="{FF2B5EF4-FFF2-40B4-BE49-F238E27FC236}">
                    <a16:creationId xmlns:a16="http://schemas.microsoft.com/office/drawing/2014/main" id="{AC79A3A1-4CEE-4C61-9BF2-37E01E3B910A}"/>
                  </a:ext>
                </a:extLst>
              </p:cNvPr>
              <p:cNvSpPr/>
              <p:nvPr/>
            </p:nvSpPr>
            <p:spPr>
              <a:xfrm>
                <a:off x="7588265" y="3512452"/>
                <a:ext cx="3633556" cy="2653850"/>
              </a:xfrm>
              <a:custGeom>
                <a:avLst/>
                <a:gdLst>
                  <a:gd name="connsiteX0" fmla="*/ 3595456 w 3595456"/>
                  <a:gd name="connsiteY0" fmla="*/ 639193 h 2610035"/>
                  <a:gd name="connsiteX1" fmla="*/ 124287 w 3595456"/>
                  <a:gd name="connsiteY1" fmla="*/ 0 h 2610035"/>
                  <a:gd name="connsiteX2" fmla="*/ 0 w 3595456"/>
                  <a:gd name="connsiteY2" fmla="*/ 195309 h 2610035"/>
                  <a:gd name="connsiteX3" fmla="*/ 381739 w 3595456"/>
                  <a:gd name="connsiteY3" fmla="*/ 2610035 h 2610035"/>
                  <a:gd name="connsiteX4" fmla="*/ 381739 w 3595456"/>
                  <a:gd name="connsiteY4" fmla="*/ 2610035 h 2610035"/>
                  <a:gd name="connsiteX0" fmla="*/ 3633556 w 3633556"/>
                  <a:gd name="connsiteY0" fmla="*/ 574423 h 2610035"/>
                  <a:gd name="connsiteX1" fmla="*/ 124287 w 3633556"/>
                  <a:gd name="connsiteY1" fmla="*/ 0 h 2610035"/>
                  <a:gd name="connsiteX2" fmla="*/ 0 w 3633556"/>
                  <a:gd name="connsiteY2" fmla="*/ 195309 h 2610035"/>
                  <a:gd name="connsiteX3" fmla="*/ 381739 w 3633556"/>
                  <a:gd name="connsiteY3" fmla="*/ 2610035 h 2610035"/>
                  <a:gd name="connsiteX4" fmla="*/ 381739 w 3633556"/>
                  <a:gd name="connsiteY4" fmla="*/ 2610035 h 2610035"/>
                  <a:gd name="connsiteX0" fmla="*/ 3633556 w 3633556"/>
                  <a:gd name="connsiteY0" fmla="*/ 574423 h 2792398"/>
                  <a:gd name="connsiteX1" fmla="*/ 124287 w 3633556"/>
                  <a:gd name="connsiteY1" fmla="*/ 0 h 2792398"/>
                  <a:gd name="connsiteX2" fmla="*/ 0 w 3633556"/>
                  <a:gd name="connsiteY2" fmla="*/ 195309 h 2792398"/>
                  <a:gd name="connsiteX3" fmla="*/ 381739 w 3633556"/>
                  <a:gd name="connsiteY3" fmla="*/ 2610035 h 2792398"/>
                  <a:gd name="connsiteX4" fmla="*/ 341734 w 3633556"/>
                  <a:gd name="connsiteY4" fmla="*/ 2623370 h 2792398"/>
                  <a:gd name="connsiteX0" fmla="*/ 3633556 w 3633556"/>
                  <a:gd name="connsiteY0" fmla="*/ 574423 h 2825217"/>
                  <a:gd name="connsiteX1" fmla="*/ 124287 w 3633556"/>
                  <a:gd name="connsiteY1" fmla="*/ 0 h 2825217"/>
                  <a:gd name="connsiteX2" fmla="*/ 0 w 3633556"/>
                  <a:gd name="connsiteY2" fmla="*/ 195309 h 2825217"/>
                  <a:gd name="connsiteX3" fmla="*/ 330304 w 3633556"/>
                  <a:gd name="connsiteY3" fmla="*/ 2653850 h 2825217"/>
                  <a:gd name="connsiteX4" fmla="*/ 341734 w 3633556"/>
                  <a:gd name="connsiteY4" fmla="*/ 2623370 h 2825217"/>
                  <a:gd name="connsiteX0" fmla="*/ 3633556 w 3633556"/>
                  <a:gd name="connsiteY0" fmla="*/ 574423 h 2653850"/>
                  <a:gd name="connsiteX1" fmla="*/ 124287 w 3633556"/>
                  <a:gd name="connsiteY1" fmla="*/ 0 h 2653850"/>
                  <a:gd name="connsiteX2" fmla="*/ 0 w 3633556"/>
                  <a:gd name="connsiteY2" fmla="*/ 195309 h 2653850"/>
                  <a:gd name="connsiteX3" fmla="*/ 330304 w 3633556"/>
                  <a:gd name="connsiteY3" fmla="*/ 2653850 h 2653850"/>
                </a:gdLst>
                <a:ahLst/>
                <a:cxnLst>
                  <a:cxn ang="0">
                    <a:pos x="connsiteX0" y="connsiteY0"/>
                  </a:cxn>
                  <a:cxn ang="0">
                    <a:pos x="connsiteX1" y="connsiteY1"/>
                  </a:cxn>
                  <a:cxn ang="0">
                    <a:pos x="connsiteX2" y="connsiteY2"/>
                  </a:cxn>
                  <a:cxn ang="0">
                    <a:pos x="connsiteX3" y="connsiteY3"/>
                  </a:cxn>
                </a:cxnLst>
                <a:rect l="l" t="t" r="r" b="b"/>
                <a:pathLst>
                  <a:path w="3633556" h="2653850">
                    <a:moveTo>
                      <a:pt x="3633556" y="574423"/>
                    </a:moveTo>
                    <a:lnTo>
                      <a:pt x="124287" y="0"/>
                    </a:lnTo>
                    <a:lnTo>
                      <a:pt x="0" y="195309"/>
                    </a:lnTo>
                    <a:cubicBezTo>
                      <a:pt x="127246" y="1000218"/>
                      <a:pt x="273348" y="2249173"/>
                      <a:pt x="330304" y="2653850"/>
                    </a:cubicBezTo>
                  </a:path>
                </a:pathLst>
              </a:custGeom>
              <a:solidFill>
                <a:schemeClr val="accent2">
                  <a:lumMod val="75000"/>
                  <a:alpha val="57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13" name="Picture 12">
                <a:extLst>
                  <a:ext uri="{FF2B5EF4-FFF2-40B4-BE49-F238E27FC236}">
                    <a16:creationId xmlns:a16="http://schemas.microsoft.com/office/drawing/2014/main" id="{E1839B92-150E-48A5-A080-31A728608A2A}"/>
                  </a:ext>
                </a:extLst>
              </p:cNvPr>
              <p:cNvPicPr>
                <a:picLocks noChangeAspect="1"/>
              </p:cNvPicPr>
              <p:nvPr/>
            </p:nvPicPr>
            <p:blipFill rotWithShape="1">
              <a:blip r:embed="rId4"/>
              <a:srcRect t="24279" r="50533" b="20932"/>
              <a:stretch/>
            </p:blipFill>
            <p:spPr>
              <a:xfrm>
                <a:off x="7939954" y="4102338"/>
                <a:ext cx="3279277" cy="2043069"/>
              </a:xfrm>
              <a:prstGeom prst="rect">
                <a:avLst/>
              </a:prstGeom>
              <a:ln w="6350">
                <a:solidFill>
                  <a:schemeClr val="tx1"/>
                </a:solidFill>
              </a:ln>
            </p:spPr>
          </p:pic>
          <p:sp>
            <p:nvSpPr>
              <p:cNvPr id="14" name="Oval 13">
                <a:extLst>
                  <a:ext uri="{FF2B5EF4-FFF2-40B4-BE49-F238E27FC236}">
                    <a16:creationId xmlns:a16="http://schemas.microsoft.com/office/drawing/2014/main" id="{8B949E40-6B5F-4C4A-901D-8004DE19C5D4}"/>
                  </a:ext>
                </a:extLst>
              </p:cNvPr>
              <p:cNvSpPr/>
              <p:nvPr/>
            </p:nvSpPr>
            <p:spPr>
              <a:xfrm>
                <a:off x="7573413" y="3502925"/>
                <a:ext cx="225863" cy="225863"/>
              </a:xfrm>
              <a:prstGeom prst="ellipse">
                <a:avLst/>
              </a:prstGeom>
              <a:solidFill>
                <a:schemeClr val="bg1"/>
              </a:solidFill>
              <a:ln>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5" name="Picture 14">
                <a:extLst>
                  <a:ext uri="{FF2B5EF4-FFF2-40B4-BE49-F238E27FC236}">
                    <a16:creationId xmlns:a16="http://schemas.microsoft.com/office/drawing/2014/main" id="{971206BE-FC6F-4A4C-B34F-FE66DC7CF4A4}"/>
                  </a:ext>
                </a:extLst>
              </p:cNvPr>
              <p:cNvPicPr>
                <a:picLocks noChangeAspect="1"/>
              </p:cNvPicPr>
              <p:nvPr/>
            </p:nvPicPr>
            <p:blipFill rotWithShape="1">
              <a:blip r:embed="rId4"/>
              <a:srcRect t="24279" r="50533" b="20932"/>
              <a:stretch/>
            </p:blipFill>
            <p:spPr>
              <a:xfrm>
                <a:off x="7581410" y="3512452"/>
                <a:ext cx="209868" cy="20680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6" name="TextBox 15">
                <a:extLst>
                  <a:ext uri="{FF2B5EF4-FFF2-40B4-BE49-F238E27FC236}">
                    <a16:creationId xmlns:a16="http://schemas.microsoft.com/office/drawing/2014/main" id="{D0C9394A-147B-4E29-9169-5920EFD28734}"/>
                  </a:ext>
                </a:extLst>
              </p:cNvPr>
              <p:cNvSpPr txBox="1"/>
              <p:nvPr/>
            </p:nvSpPr>
            <p:spPr>
              <a:xfrm>
                <a:off x="9696431" y="3648895"/>
                <a:ext cx="184731" cy="261610"/>
              </a:xfrm>
              <a:prstGeom prst="rect">
                <a:avLst/>
              </a:prstGeom>
              <a:noFill/>
            </p:spPr>
            <p:txBody>
              <a:bodyPr wrap="none" rtlCol="0">
                <a:spAutoFit/>
              </a:bodyPr>
              <a:lstStyle/>
              <a:p>
                <a:endParaRPr lang="en-US" sz="1100" b="1" dirty="0"/>
              </a:p>
            </p:txBody>
          </p:sp>
          <p:pic>
            <p:nvPicPr>
              <p:cNvPr id="17" name="Picture 16">
                <a:extLst>
                  <a:ext uri="{FF2B5EF4-FFF2-40B4-BE49-F238E27FC236}">
                    <a16:creationId xmlns:a16="http://schemas.microsoft.com/office/drawing/2014/main" id="{F6215908-056D-4CBC-AF81-9A6EFCB06D44}"/>
                  </a:ext>
                </a:extLst>
              </p:cNvPr>
              <p:cNvPicPr>
                <a:picLocks noChangeAspect="1"/>
              </p:cNvPicPr>
              <p:nvPr/>
            </p:nvPicPr>
            <p:blipFill rotWithShape="1">
              <a:blip r:embed="rId5"/>
              <a:srcRect l="12167" t="22059" r="52344" b="20315"/>
              <a:stretch/>
            </p:blipFill>
            <p:spPr>
              <a:xfrm>
                <a:off x="9086709" y="1288496"/>
                <a:ext cx="2149964" cy="2327360"/>
              </a:xfrm>
              <a:prstGeom prst="rect">
                <a:avLst/>
              </a:prstGeom>
            </p:spPr>
          </p:pic>
          <p:sp>
            <p:nvSpPr>
              <p:cNvPr id="18" name="Rectangle 17">
                <a:extLst>
                  <a:ext uri="{FF2B5EF4-FFF2-40B4-BE49-F238E27FC236}">
                    <a16:creationId xmlns:a16="http://schemas.microsoft.com/office/drawing/2014/main" id="{DD3580A8-1D97-4641-974B-934B29B931C9}"/>
                  </a:ext>
                </a:extLst>
              </p:cNvPr>
              <p:cNvSpPr/>
              <p:nvPr/>
            </p:nvSpPr>
            <p:spPr>
              <a:xfrm>
                <a:off x="7922317" y="3920032"/>
                <a:ext cx="3314549" cy="169269"/>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Always On Simulation + DCS Data</a:t>
                </a:r>
              </a:p>
            </p:txBody>
          </p:sp>
          <p:sp>
            <p:nvSpPr>
              <p:cNvPr id="19" name="Rectangle 18">
                <a:extLst>
                  <a:ext uri="{FF2B5EF4-FFF2-40B4-BE49-F238E27FC236}">
                    <a16:creationId xmlns:a16="http://schemas.microsoft.com/office/drawing/2014/main" id="{4B03D001-8393-4458-A8AF-6B84CC5DDA2D}"/>
                  </a:ext>
                </a:extLst>
              </p:cNvPr>
              <p:cNvSpPr/>
              <p:nvPr/>
            </p:nvSpPr>
            <p:spPr>
              <a:xfrm>
                <a:off x="9104151" y="1112708"/>
                <a:ext cx="2132522" cy="169269"/>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extualized Tools &amp; Data</a:t>
                </a:r>
              </a:p>
            </p:txBody>
          </p:sp>
          <p:cxnSp>
            <p:nvCxnSpPr>
              <p:cNvPr id="20" name="Straight Connector 19">
                <a:extLst>
                  <a:ext uri="{FF2B5EF4-FFF2-40B4-BE49-F238E27FC236}">
                    <a16:creationId xmlns:a16="http://schemas.microsoft.com/office/drawing/2014/main" id="{13D2756E-7116-45F7-B181-2D3D938973F5}"/>
                  </a:ext>
                </a:extLst>
              </p:cNvPr>
              <p:cNvCxnSpPr>
                <a:endCxn id="19" idx="1"/>
              </p:cNvCxnSpPr>
              <p:nvPr/>
            </p:nvCxnSpPr>
            <p:spPr>
              <a:xfrm flipV="1">
                <a:off x="7573413" y="1197343"/>
                <a:ext cx="1530738" cy="1254833"/>
              </a:xfrm>
              <a:prstGeom prst="line">
                <a:avLst/>
              </a:prstGeom>
              <a:ln w="38100"/>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89F5E3B6-00D2-40BB-9B9D-E8B8FA442CF5}"/>
                </a:ext>
              </a:extLst>
            </p:cNvPr>
            <p:cNvGrpSpPr/>
            <p:nvPr/>
          </p:nvGrpSpPr>
          <p:grpSpPr>
            <a:xfrm>
              <a:off x="11520288" y="1138004"/>
              <a:ext cx="9306417" cy="4840841"/>
              <a:chOff x="2124075" y="1536700"/>
              <a:chExt cx="8300378" cy="4275165"/>
            </a:xfrm>
          </p:grpSpPr>
          <p:pic>
            <p:nvPicPr>
              <p:cNvPr id="9" name="Picture 8">
                <a:extLst>
                  <a:ext uri="{FF2B5EF4-FFF2-40B4-BE49-F238E27FC236}">
                    <a16:creationId xmlns:a16="http://schemas.microsoft.com/office/drawing/2014/main" id="{60E535A6-4C25-4CD9-AE26-073B2FB45E85}"/>
                  </a:ext>
                </a:extLst>
              </p:cNvPr>
              <p:cNvPicPr>
                <a:picLocks noChangeAspect="1"/>
              </p:cNvPicPr>
              <p:nvPr/>
            </p:nvPicPr>
            <p:blipFill>
              <a:blip r:embed="rId6"/>
              <a:stretch>
                <a:fillRect/>
              </a:stretch>
            </p:blipFill>
            <p:spPr>
              <a:xfrm>
                <a:off x="2124075" y="1536700"/>
                <a:ext cx="8300378" cy="4275165"/>
              </a:xfrm>
              <a:prstGeom prst="rect">
                <a:avLst/>
              </a:prstGeom>
              <a:ln>
                <a:noFill/>
              </a:ln>
            </p:spPr>
          </p:pic>
          <p:sp>
            <p:nvSpPr>
              <p:cNvPr id="10" name="Rectangle 9">
                <a:extLst>
                  <a:ext uri="{FF2B5EF4-FFF2-40B4-BE49-F238E27FC236}">
                    <a16:creationId xmlns:a16="http://schemas.microsoft.com/office/drawing/2014/main" id="{3E4D5CAE-F863-4902-AC1C-EDCFEC1E9997}"/>
                  </a:ext>
                </a:extLst>
              </p:cNvPr>
              <p:cNvSpPr/>
              <p:nvPr/>
            </p:nvSpPr>
            <p:spPr>
              <a:xfrm>
                <a:off x="2124075" y="1543050"/>
                <a:ext cx="584200" cy="132835"/>
              </a:xfrm>
              <a:prstGeom prst="rect">
                <a:avLst/>
              </a:prstGeom>
              <a:solidFill>
                <a:srgbClr val="FBCE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ID4096"/>
              </a:p>
            </p:txBody>
          </p:sp>
        </p:grpSp>
      </p:grpSp>
    </p:spTree>
    <p:extLst>
      <p:ext uri="{BB962C8B-B14F-4D97-AF65-F5344CB8AC3E}">
        <p14:creationId xmlns:p14="http://schemas.microsoft.com/office/powerpoint/2010/main" val="29720722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8F5E020-04F1-4303-BA98-E4AA514E661D}"/>
              </a:ext>
            </a:extLst>
          </p:cNvPr>
          <p:cNvSpPr>
            <a:spLocks noGrp="1"/>
          </p:cNvSpPr>
          <p:nvPr>
            <p:ph type="sldNum" sz="quarter" idx="18"/>
          </p:nvPr>
        </p:nvSpPr>
        <p:spPr/>
        <p:txBody>
          <a:bodyPr/>
          <a:lstStyle/>
          <a:p>
            <a:fld id="{7A3F00B2-786C-401B-9EB3-42A9D0DD4A9F}" type="slidenum">
              <a:rPr lang="nb-NO" smtClean="0"/>
              <a:pPr/>
              <a:t>15</a:t>
            </a:fld>
            <a:endParaRPr lang="nb-NO"/>
          </a:p>
        </p:txBody>
      </p:sp>
      <p:pic>
        <p:nvPicPr>
          <p:cNvPr id="9" name="Picture 8" descr="A picture containing person, holding&#10;&#10;Description automatically generated">
            <a:extLst>
              <a:ext uri="{FF2B5EF4-FFF2-40B4-BE49-F238E27FC236}">
                <a16:creationId xmlns:a16="http://schemas.microsoft.com/office/drawing/2014/main" id="{1D511AC5-17E1-42F8-BF98-A302CF033F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10" name="Group 9">
            <a:extLst>
              <a:ext uri="{FF2B5EF4-FFF2-40B4-BE49-F238E27FC236}">
                <a16:creationId xmlns:a16="http://schemas.microsoft.com/office/drawing/2014/main" id="{20BDA1F3-1F43-4EE8-9EB7-C41788999833}"/>
              </a:ext>
            </a:extLst>
          </p:cNvPr>
          <p:cNvGrpSpPr/>
          <p:nvPr/>
        </p:nvGrpSpPr>
        <p:grpSpPr>
          <a:xfrm>
            <a:off x="350775" y="1771650"/>
            <a:ext cx="5209191" cy="2737302"/>
            <a:chOff x="1619683" y="1112708"/>
            <a:chExt cx="9617183" cy="5053594"/>
          </a:xfrm>
        </p:grpSpPr>
        <p:pic>
          <p:nvPicPr>
            <p:cNvPr id="11" name="Picture 10">
              <a:extLst>
                <a:ext uri="{FF2B5EF4-FFF2-40B4-BE49-F238E27FC236}">
                  <a16:creationId xmlns:a16="http://schemas.microsoft.com/office/drawing/2014/main" id="{D73FB490-E5E7-45CF-9F7F-612AE817EA4F}"/>
                </a:ext>
              </a:extLst>
            </p:cNvPr>
            <p:cNvPicPr>
              <a:picLocks noChangeAspect="1"/>
            </p:cNvPicPr>
            <p:nvPr/>
          </p:nvPicPr>
          <p:blipFill rotWithShape="1">
            <a:blip r:embed="rId4"/>
            <a:srcRect t="7813" b="5428"/>
            <a:stretch/>
          </p:blipFill>
          <p:spPr>
            <a:xfrm>
              <a:off x="1619683" y="1652613"/>
              <a:ext cx="6740940" cy="3289683"/>
            </a:xfrm>
            <a:prstGeom prst="rect">
              <a:avLst/>
            </a:prstGeom>
            <a:ln>
              <a:noFill/>
            </a:ln>
          </p:spPr>
        </p:pic>
        <p:sp>
          <p:nvSpPr>
            <p:cNvPr id="12" name="Freeform: Shape 11">
              <a:extLst>
                <a:ext uri="{FF2B5EF4-FFF2-40B4-BE49-F238E27FC236}">
                  <a16:creationId xmlns:a16="http://schemas.microsoft.com/office/drawing/2014/main" id="{2B519515-1C55-4A9E-ACD8-4B2542A1C48C}"/>
                </a:ext>
              </a:extLst>
            </p:cNvPr>
            <p:cNvSpPr/>
            <p:nvPr/>
          </p:nvSpPr>
          <p:spPr>
            <a:xfrm>
              <a:off x="7588265" y="3512452"/>
              <a:ext cx="3633556" cy="2653850"/>
            </a:xfrm>
            <a:custGeom>
              <a:avLst/>
              <a:gdLst>
                <a:gd name="connsiteX0" fmla="*/ 3595456 w 3595456"/>
                <a:gd name="connsiteY0" fmla="*/ 639193 h 2610035"/>
                <a:gd name="connsiteX1" fmla="*/ 124287 w 3595456"/>
                <a:gd name="connsiteY1" fmla="*/ 0 h 2610035"/>
                <a:gd name="connsiteX2" fmla="*/ 0 w 3595456"/>
                <a:gd name="connsiteY2" fmla="*/ 195309 h 2610035"/>
                <a:gd name="connsiteX3" fmla="*/ 381739 w 3595456"/>
                <a:gd name="connsiteY3" fmla="*/ 2610035 h 2610035"/>
                <a:gd name="connsiteX4" fmla="*/ 381739 w 3595456"/>
                <a:gd name="connsiteY4" fmla="*/ 2610035 h 2610035"/>
                <a:gd name="connsiteX0" fmla="*/ 3633556 w 3633556"/>
                <a:gd name="connsiteY0" fmla="*/ 574423 h 2610035"/>
                <a:gd name="connsiteX1" fmla="*/ 124287 w 3633556"/>
                <a:gd name="connsiteY1" fmla="*/ 0 h 2610035"/>
                <a:gd name="connsiteX2" fmla="*/ 0 w 3633556"/>
                <a:gd name="connsiteY2" fmla="*/ 195309 h 2610035"/>
                <a:gd name="connsiteX3" fmla="*/ 381739 w 3633556"/>
                <a:gd name="connsiteY3" fmla="*/ 2610035 h 2610035"/>
                <a:gd name="connsiteX4" fmla="*/ 381739 w 3633556"/>
                <a:gd name="connsiteY4" fmla="*/ 2610035 h 2610035"/>
                <a:gd name="connsiteX0" fmla="*/ 3633556 w 3633556"/>
                <a:gd name="connsiteY0" fmla="*/ 574423 h 2792398"/>
                <a:gd name="connsiteX1" fmla="*/ 124287 w 3633556"/>
                <a:gd name="connsiteY1" fmla="*/ 0 h 2792398"/>
                <a:gd name="connsiteX2" fmla="*/ 0 w 3633556"/>
                <a:gd name="connsiteY2" fmla="*/ 195309 h 2792398"/>
                <a:gd name="connsiteX3" fmla="*/ 381739 w 3633556"/>
                <a:gd name="connsiteY3" fmla="*/ 2610035 h 2792398"/>
                <a:gd name="connsiteX4" fmla="*/ 341734 w 3633556"/>
                <a:gd name="connsiteY4" fmla="*/ 2623370 h 2792398"/>
                <a:gd name="connsiteX0" fmla="*/ 3633556 w 3633556"/>
                <a:gd name="connsiteY0" fmla="*/ 574423 h 2825217"/>
                <a:gd name="connsiteX1" fmla="*/ 124287 w 3633556"/>
                <a:gd name="connsiteY1" fmla="*/ 0 h 2825217"/>
                <a:gd name="connsiteX2" fmla="*/ 0 w 3633556"/>
                <a:gd name="connsiteY2" fmla="*/ 195309 h 2825217"/>
                <a:gd name="connsiteX3" fmla="*/ 330304 w 3633556"/>
                <a:gd name="connsiteY3" fmla="*/ 2653850 h 2825217"/>
                <a:gd name="connsiteX4" fmla="*/ 341734 w 3633556"/>
                <a:gd name="connsiteY4" fmla="*/ 2623370 h 2825217"/>
                <a:gd name="connsiteX0" fmla="*/ 3633556 w 3633556"/>
                <a:gd name="connsiteY0" fmla="*/ 574423 h 2653850"/>
                <a:gd name="connsiteX1" fmla="*/ 124287 w 3633556"/>
                <a:gd name="connsiteY1" fmla="*/ 0 h 2653850"/>
                <a:gd name="connsiteX2" fmla="*/ 0 w 3633556"/>
                <a:gd name="connsiteY2" fmla="*/ 195309 h 2653850"/>
                <a:gd name="connsiteX3" fmla="*/ 330304 w 3633556"/>
                <a:gd name="connsiteY3" fmla="*/ 2653850 h 2653850"/>
              </a:gdLst>
              <a:ahLst/>
              <a:cxnLst>
                <a:cxn ang="0">
                  <a:pos x="connsiteX0" y="connsiteY0"/>
                </a:cxn>
                <a:cxn ang="0">
                  <a:pos x="connsiteX1" y="connsiteY1"/>
                </a:cxn>
                <a:cxn ang="0">
                  <a:pos x="connsiteX2" y="connsiteY2"/>
                </a:cxn>
                <a:cxn ang="0">
                  <a:pos x="connsiteX3" y="connsiteY3"/>
                </a:cxn>
              </a:cxnLst>
              <a:rect l="l" t="t" r="r" b="b"/>
              <a:pathLst>
                <a:path w="3633556" h="2653850">
                  <a:moveTo>
                    <a:pt x="3633556" y="574423"/>
                  </a:moveTo>
                  <a:lnTo>
                    <a:pt x="124287" y="0"/>
                  </a:lnTo>
                  <a:lnTo>
                    <a:pt x="0" y="195309"/>
                  </a:lnTo>
                  <a:cubicBezTo>
                    <a:pt x="127246" y="1000218"/>
                    <a:pt x="273348" y="2249173"/>
                    <a:pt x="330304" y="2653850"/>
                  </a:cubicBezTo>
                </a:path>
              </a:pathLst>
            </a:custGeom>
            <a:solidFill>
              <a:schemeClr val="accent2">
                <a:lumMod val="75000"/>
                <a:alpha val="57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13" name="Picture 12">
              <a:extLst>
                <a:ext uri="{FF2B5EF4-FFF2-40B4-BE49-F238E27FC236}">
                  <a16:creationId xmlns:a16="http://schemas.microsoft.com/office/drawing/2014/main" id="{FC21BBEA-6815-4F63-9F6E-49622A8D65F9}"/>
                </a:ext>
              </a:extLst>
            </p:cNvPr>
            <p:cNvPicPr>
              <a:picLocks noChangeAspect="1"/>
            </p:cNvPicPr>
            <p:nvPr/>
          </p:nvPicPr>
          <p:blipFill rotWithShape="1">
            <a:blip r:embed="rId5"/>
            <a:srcRect t="24279" r="50533" b="20932"/>
            <a:stretch/>
          </p:blipFill>
          <p:spPr>
            <a:xfrm>
              <a:off x="7939954" y="4102338"/>
              <a:ext cx="3279277" cy="2043069"/>
            </a:xfrm>
            <a:prstGeom prst="rect">
              <a:avLst/>
            </a:prstGeom>
            <a:ln w="6350">
              <a:solidFill>
                <a:schemeClr val="tx1"/>
              </a:solidFill>
            </a:ln>
          </p:spPr>
        </p:pic>
        <p:sp>
          <p:nvSpPr>
            <p:cNvPr id="14" name="Oval 13">
              <a:extLst>
                <a:ext uri="{FF2B5EF4-FFF2-40B4-BE49-F238E27FC236}">
                  <a16:creationId xmlns:a16="http://schemas.microsoft.com/office/drawing/2014/main" id="{3749B1DB-34D1-4F5A-86D5-418C20A04774}"/>
                </a:ext>
              </a:extLst>
            </p:cNvPr>
            <p:cNvSpPr/>
            <p:nvPr/>
          </p:nvSpPr>
          <p:spPr>
            <a:xfrm>
              <a:off x="7573413" y="3502925"/>
              <a:ext cx="225863" cy="225863"/>
            </a:xfrm>
            <a:prstGeom prst="ellipse">
              <a:avLst/>
            </a:prstGeom>
            <a:solidFill>
              <a:schemeClr val="bg1"/>
            </a:solidFill>
            <a:ln>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5" name="Picture 14">
              <a:extLst>
                <a:ext uri="{FF2B5EF4-FFF2-40B4-BE49-F238E27FC236}">
                  <a16:creationId xmlns:a16="http://schemas.microsoft.com/office/drawing/2014/main" id="{9FE85686-29E0-4F56-812A-13B048651755}"/>
                </a:ext>
              </a:extLst>
            </p:cNvPr>
            <p:cNvPicPr>
              <a:picLocks noChangeAspect="1"/>
            </p:cNvPicPr>
            <p:nvPr/>
          </p:nvPicPr>
          <p:blipFill rotWithShape="1">
            <a:blip r:embed="rId5"/>
            <a:srcRect t="24279" r="50533" b="20932"/>
            <a:stretch/>
          </p:blipFill>
          <p:spPr>
            <a:xfrm>
              <a:off x="7581410" y="3512452"/>
              <a:ext cx="209868" cy="20680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6" name="TextBox 15">
              <a:extLst>
                <a:ext uri="{FF2B5EF4-FFF2-40B4-BE49-F238E27FC236}">
                  <a16:creationId xmlns:a16="http://schemas.microsoft.com/office/drawing/2014/main" id="{6FEA5F7D-8948-4F9B-A904-647EE2C9D234}"/>
                </a:ext>
              </a:extLst>
            </p:cNvPr>
            <p:cNvSpPr txBox="1"/>
            <p:nvPr/>
          </p:nvSpPr>
          <p:spPr>
            <a:xfrm>
              <a:off x="9696431" y="3648895"/>
              <a:ext cx="184731" cy="261610"/>
            </a:xfrm>
            <a:prstGeom prst="rect">
              <a:avLst/>
            </a:prstGeom>
            <a:noFill/>
          </p:spPr>
          <p:txBody>
            <a:bodyPr wrap="none" rtlCol="0">
              <a:spAutoFit/>
            </a:bodyPr>
            <a:lstStyle/>
            <a:p>
              <a:endParaRPr lang="en-US" sz="1100" b="1" dirty="0"/>
            </a:p>
          </p:txBody>
        </p:sp>
        <p:pic>
          <p:nvPicPr>
            <p:cNvPr id="17" name="Picture 16">
              <a:extLst>
                <a:ext uri="{FF2B5EF4-FFF2-40B4-BE49-F238E27FC236}">
                  <a16:creationId xmlns:a16="http://schemas.microsoft.com/office/drawing/2014/main" id="{6607970D-958D-48CB-895A-6666DBADA0FD}"/>
                </a:ext>
              </a:extLst>
            </p:cNvPr>
            <p:cNvPicPr>
              <a:picLocks noChangeAspect="1"/>
            </p:cNvPicPr>
            <p:nvPr/>
          </p:nvPicPr>
          <p:blipFill rotWithShape="1">
            <a:blip r:embed="rId6"/>
            <a:srcRect l="12167" t="22059" r="52344" b="20315"/>
            <a:stretch/>
          </p:blipFill>
          <p:spPr>
            <a:xfrm>
              <a:off x="9086709" y="1288496"/>
              <a:ext cx="2149964" cy="2327360"/>
            </a:xfrm>
            <a:prstGeom prst="rect">
              <a:avLst/>
            </a:prstGeom>
          </p:spPr>
        </p:pic>
        <p:sp>
          <p:nvSpPr>
            <p:cNvPr id="18" name="Rectangle 17">
              <a:extLst>
                <a:ext uri="{FF2B5EF4-FFF2-40B4-BE49-F238E27FC236}">
                  <a16:creationId xmlns:a16="http://schemas.microsoft.com/office/drawing/2014/main" id="{B45A5F3D-D57C-48E4-B6B7-2AFCBD81ACA3}"/>
                </a:ext>
              </a:extLst>
            </p:cNvPr>
            <p:cNvSpPr/>
            <p:nvPr/>
          </p:nvSpPr>
          <p:spPr>
            <a:xfrm>
              <a:off x="7922317" y="3920032"/>
              <a:ext cx="3314549" cy="169269"/>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b="1" dirty="0">
                  <a:solidFill>
                    <a:schemeClr val="tx1"/>
                  </a:solidFill>
                </a:rPr>
                <a:t>Always On Simulation + DCS Data</a:t>
              </a:r>
            </a:p>
          </p:txBody>
        </p:sp>
        <p:sp>
          <p:nvSpPr>
            <p:cNvPr id="19" name="Rectangle 18">
              <a:extLst>
                <a:ext uri="{FF2B5EF4-FFF2-40B4-BE49-F238E27FC236}">
                  <a16:creationId xmlns:a16="http://schemas.microsoft.com/office/drawing/2014/main" id="{AC0E58DB-B98F-4851-B484-2D8E71CA9F7D}"/>
                </a:ext>
              </a:extLst>
            </p:cNvPr>
            <p:cNvSpPr/>
            <p:nvPr/>
          </p:nvSpPr>
          <p:spPr>
            <a:xfrm>
              <a:off x="9104151" y="1112708"/>
              <a:ext cx="2132522" cy="169269"/>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b="1" dirty="0">
                  <a:solidFill>
                    <a:schemeClr val="tx1"/>
                  </a:solidFill>
                </a:rPr>
                <a:t>Contextualized Tools &amp; Data</a:t>
              </a:r>
            </a:p>
          </p:txBody>
        </p:sp>
        <p:cxnSp>
          <p:nvCxnSpPr>
            <p:cNvPr id="20" name="Straight Connector 19">
              <a:extLst>
                <a:ext uri="{FF2B5EF4-FFF2-40B4-BE49-F238E27FC236}">
                  <a16:creationId xmlns:a16="http://schemas.microsoft.com/office/drawing/2014/main" id="{B089AEDD-71C1-4171-96D2-DA33D4A61781}"/>
                </a:ext>
              </a:extLst>
            </p:cNvPr>
            <p:cNvCxnSpPr>
              <a:endCxn id="19" idx="1"/>
            </p:cNvCxnSpPr>
            <p:nvPr/>
          </p:nvCxnSpPr>
          <p:spPr>
            <a:xfrm flipV="1">
              <a:off x="7573413" y="1197343"/>
              <a:ext cx="1530738" cy="1254833"/>
            </a:xfrm>
            <a:prstGeom prst="line">
              <a:avLst/>
            </a:prstGeom>
            <a:ln w="38100"/>
          </p:spPr>
          <p:style>
            <a:lnRef idx="1">
              <a:schemeClr val="accent1"/>
            </a:lnRef>
            <a:fillRef idx="0">
              <a:schemeClr val="accent1"/>
            </a:fillRef>
            <a:effectRef idx="0">
              <a:schemeClr val="accent1"/>
            </a:effectRef>
            <a:fontRef idx="minor">
              <a:schemeClr val="tx1"/>
            </a:fontRef>
          </p:style>
        </p:cxnSp>
      </p:grpSp>
      <p:pic>
        <p:nvPicPr>
          <p:cNvPr id="21" name="Picture 20">
            <a:extLst>
              <a:ext uri="{FF2B5EF4-FFF2-40B4-BE49-F238E27FC236}">
                <a16:creationId xmlns:a16="http://schemas.microsoft.com/office/drawing/2014/main" id="{0065F5BB-B04B-4539-9238-852DB4E657C2}"/>
              </a:ext>
            </a:extLst>
          </p:cNvPr>
          <p:cNvPicPr>
            <a:picLocks noChangeAspect="1"/>
          </p:cNvPicPr>
          <p:nvPr/>
        </p:nvPicPr>
        <p:blipFill rotWithShape="1">
          <a:blip r:embed="rId7"/>
          <a:srcRect t="3210"/>
          <a:stretch/>
        </p:blipFill>
        <p:spPr>
          <a:xfrm>
            <a:off x="440480" y="4730836"/>
            <a:ext cx="3561556" cy="1793115"/>
          </a:xfrm>
          <a:prstGeom prst="rect">
            <a:avLst/>
          </a:prstGeom>
          <a:ln>
            <a:noFill/>
          </a:ln>
        </p:spPr>
      </p:pic>
    </p:spTree>
    <p:extLst>
      <p:ext uri="{BB962C8B-B14F-4D97-AF65-F5344CB8AC3E}">
        <p14:creationId xmlns:p14="http://schemas.microsoft.com/office/powerpoint/2010/main" val="333996124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29AA20B-9A16-47BC-AB8B-8AB47AD4FAF4}"/>
              </a:ext>
            </a:extLst>
          </p:cNvPr>
          <p:cNvPicPr>
            <a:picLocks noChangeAspect="1"/>
          </p:cNvPicPr>
          <p:nvPr/>
        </p:nvPicPr>
        <p:blipFill rotWithShape="1">
          <a:blip r:embed="rId3">
            <a:extLst>
              <a:ext uri="{28A0092B-C50C-407E-A947-70E740481C1C}">
                <a14:useLocalDpi xmlns:a14="http://schemas.microsoft.com/office/drawing/2010/main" val="0"/>
              </a:ext>
            </a:extLst>
          </a:blip>
          <a:srcRect t="5964"/>
          <a:stretch/>
        </p:blipFill>
        <p:spPr>
          <a:xfrm>
            <a:off x="0" y="0"/>
            <a:ext cx="5740728" cy="3140436"/>
          </a:xfrm>
          <a:prstGeom prst="rect">
            <a:avLst/>
          </a:prstGeom>
        </p:spPr>
      </p:pic>
      <p:pic>
        <p:nvPicPr>
          <p:cNvPr id="13" name="Picture 12" descr="A picture containing text, person, person, computer&#10;&#10;Description automatically generated">
            <a:extLst>
              <a:ext uri="{FF2B5EF4-FFF2-40B4-BE49-F238E27FC236}">
                <a16:creationId xmlns:a16="http://schemas.microsoft.com/office/drawing/2014/main" id="{3F066ADF-D715-468E-9EBD-EA0A5BA98088}"/>
              </a:ext>
            </a:extLst>
          </p:cNvPr>
          <p:cNvPicPr>
            <a:picLocks noChangeAspect="1"/>
          </p:cNvPicPr>
          <p:nvPr/>
        </p:nvPicPr>
        <p:blipFill rotWithShape="1">
          <a:blip r:embed="rId4">
            <a:extLst>
              <a:ext uri="{28A0092B-C50C-407E-A947-70E740481C1C}">
                <a14:useLocalDpi xmlns:a14="http://schemas.microsoft.com/office/drawing/2010/main" val="0"/>
              </a:ext>
            </a:extLst>
          </a:blip>
          <a:srcRect b="6350"/>
          <a:stretch/>
        </p:blipFill>
        <p:spPr>
          <a:xfrm flipH="1">
            <a:off x="0" y="3694433"/>
            <a:ext cx="5740728" cy="3163567"/>
          </a:xfrm>
          <a:prstGeom prst="rect">
            <a:avLst/>
          </a:prstGeom>
        </p:spPr>
      </p:pic>
      <p:sp>
        <p:nvSpPr>
          <p:cNvPr id="20" name="Rectangle 19">
            <a:extLst>
              <a:ext uri="{FF2B5EF4-FFF2-40B4-BE49-F238E27FC236}">
                <a16:creationId xmlns:a16="http://schemas.microsoft.com/office/drawing/2014/main" id="{9CEA044F-9B63-46D2-8E0F-3FF40EAA2703}"/>
              </a:ext>
            </a:extLst>
          </p:cNvPr>
          <p:cNvSpPr/>
          <p:nvPr/>
        </p:nvSpPr>
        <p:spPr>
          <a:xfrm>
            <a:off x="5740730" y="0"/>
            <a:ext cx="6451270" cy="6866943"/>
          </a:xfrm>
          <a:prstGeom prst="rect">
            <a:avLst/>
          </a:prstGeom>
          <a:solidFill>
            <a:schemeClr val="accent1">
              <a:alpha val="6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Plassholder for lysbildenummer 4">
            <a:extLst>
              <a:ext uri="{FF2B5EF4-FFF2-40B4-BE49-F238E27FC236}">
                <a16:creationId xmlns:a16="http://schemas.microsoft.com/office/drawing/2014/main" id="{47210EFF-4D79-409C-9BD1-E4118B002BD9}"/>
              </a:ext>
            </a:extLst>
          </p:cNvPr>
          <p:cNvSpPr>
            <a:spLocks noGrp="1"/>
          </p:cNvSpPr>
          <p:nvPr>
            <p:ph type="sldNum" sz="quarter" idx="11"/>
          </p:nvPr>
        </p:nvSpPr>
        <p:spPr/>
        <p:txBody>
          <a:bodyPr/>
          <a:lstStyle/>
          <a:p>
            <a:fld id="{7A3F00B2-786C-401B-9EB3-42A9D0DD4A9F}" type="slidenum">
              <a:rPr lang="nb-NO" smtClean="0"/>
              <a:pPr/>
              <a:t>16</a:t>
            </a:fld>
            <a:endParaRPr lang="nb-NO"/>
          </a:p>
        </p:txBody>
      </p:sp>
      <p:sp>
        <p:nvSpPr>
          <p:cNvPr id="19" name="TextBox 18">
            <a:extLst>
              <a:ext uri="{FF2B5EF4-FFF2-40B4-BE49-F238E27FC236}">
                <a16:creationId xmlns:a16="http://schemas.microsoft.com/office/drawing/2014/main" id="{5CC70451-9086-46AF-83E0-19B4C7C30DF1}"/>
              </a:ext>
            </a:extLst>
          </p:cNvPr>
          <p:cNvSpPr txBox="1"/>
          <p:nvPr/>
        </p:nvSpPr>
        <p:spPr>
          <a:xfrm>
            <a:off x="0" y="3140436"/>
            <a:ext cx="4953000" cy="553998"/>
          </a:xfrm>
          <a:prstGeom prst="rect">
            <a:avLst/>
          </a:prstGeom>
          <a:solidFill>
            <a:srgbClr val="616F84"/>
          </a:solidFill>
        </p:spPr>
        <p:txBody>
          <a:bodyPr wrap="square" rtlCol="0">
            <a:spAutoFit/>
          </a:bodyPr>
          <a:lstStyle/>
          <a:p>
            <a:pPr algn="ctr"/>
            <a:r>
              <a:rPr lang="en-US" sz="3000" b="1" i="1" dirty="0">
                <a:solidFill>
                  <a:schemeClr val="bg1"/>
                </a:solidFill>
              </a:rPr>
              <a:t>Reimagine how you work</a:t>
            </a:r>
          </a:p>
        </p:txBody>
      </p:sp>
      <p:sp>
        <p:nvSpPr>
          <p:cNvPr id="24" name="TextBox 23">
            <a:extLst>
              <a:ext uri="{FF2B5EF4-FFF2-40B4-BE49-F238E27FC236}">
                <a16:creationId xmlns:a16="http://schemas.microsoft.com/office/drawing/2014/main" id="{A6F285B5-005F-4C73-A8DF-1D70A766EACF}"/>
              </a:ext>
            </a:extLst>
          </p:cNvPr>
          <p:cNvSpPr txBox="1"/>
          <p:nvPr/>
        </p:nvSpPr>
        <p:spPr>
          <a:xfrm>
            <a:off x="5666782" y="243985"/>
            <a:ext cx="6525218" cy="569387"/>
          </a:xfrm>
          <a:prstGeom prst="rect">
            <a:avLst/>
          </a:prstGeom>
          <a:solidFill>
            <a:schemeClr val="bg2">
              <a:lumMod val="25000"/>
              <a:alpha val="0"/>
            </a:schemeClr>
          </a:solidFill>
        </p:spPr>
        <p:txBody>
          <a:bodyPr wrap="square" rtlCol="0">
            <a:spAutoFit/>
          </a:bodyPr>
          <a:lstStyle>
            <a:defPPr>
              <a:defRPr lang="en-US"/>
            </a:defPPr>
            <a:lvl1pPr algn="ctr">
              <a:defRPr sz="3600" b="1" i="1">
                <a:solidFill>
                  <a:schemeClr val="bg1"/>
                </a:solidFill>
              </a:defRPr>
            </a:lvl1pPr>
          </a:lstStyle>
          <a:p>
            <a:r>
              <a:rPr lang="en-US" sz="3100" dirty="0"/>
              <a:t>Kognitwin® Your Industrial Work Surface</a:t>
            </a:r>
          </a:p>
        </p:txBody>
      </p:sp>
      <p:pic>
        <p:nvPicPr>
          <p:cNvPr id="15" name="Picture 14">
            <a:extLst>
              <a:ext uri="{FF2B5EF4-FFF2-40B4-BE49-F238E27FC236}">
                <a16:creationId xmlns:a16="http://schemas.microsoft.com/office/drawing/2014/main" id="{FEDEEC92-F058-4706-985B-4031172CE502}"/>
              </a:ext>
            </a:extLst>
          </p:cNvPr>
          <p:cNvPicPr/>
          <p:nvPr/>
        </p:nvPicPr>
        <p:blipFill>
          <a:blip r:embed="rId5">
            <a:extLst>
              <a:ext uri="{28A0092B-C50C-407E-A947-70E740481C1C}">
                <a14:useLocalDpi xmlns:a14="http://schemas.microsoft.com/office/drawing/2010/main" val="0"/>
              </a:ext>
            </a:extLst>
          </a:blip>
          <a:stretch>
            <a:fillRect/>
          </a:stretch>
        </p:blipFill>
        <p:spPr>
          <a:xfrm flipH="1" flipV="1">
            <a:off x="9897169" y="5649066"/>
            <a:ext cx="2307590" cy="1217877"/>
          </a:xfrm>
          <a:prstGeom prst="rect">
            <a:avLst/>
          </a:prstGeom>
        </p:spPr>
      </p:pic>
      <p:sp>
        <p:nvSpPr>
          <p:cNvPr id="23" name="Plassholder for tekst 4">
            <a:extLst>
              <a:ext uri="{FF2B5EF4-FFF2-40B4-BE49-F238E27FC236}">
                <a16:creationId xmlns:a16="http://schemas.microsoft.com/office/drawing/2014/main" id="{BAAEBA5E-F0B6-4043-9D82-9E943BABD8C7}"/>
              </a:ext>
            </a:extLst>
          </p:cNvPr>
          <p:cNvSpPr txBox="1">
            <a:spLocks/>
          </p:cNvSpPr>
          <p:nvPr/>
        </p:nvSpPr>
        <p:spPr>
          <a:xfrm>
            <a:off x="10934700" y="5834421"/>
            <a:ext cx="929640" cy="907876"/>
          </a:xfrm>
          <a:prstGeom prst="rect">
            <a:avLst/>
          </a:prstGeom>
          <a:blipFill>
            <a:blip r:embed="rId6" cstate="hqprint">
              <a:extLst>
                <a:ext uri="{28A0092B-C50C-407E-A947-70E740481C1C}">
                  <a14:useLocalDpi xmlns:a14="http://schemas.microsoft.com/office/drawing/2010/main"/>
                </a:ext>
              </a:extLst>
            </a:blip>
            <a:stretch>
              <a:fillRect/>
            </a:stretch>
          </a:blipFill>
        </p:spPr>
        <p:txBody>
          <a:bodyPr/>
          <a:lstStyle>
            <a:lvl1pPr marL="198040" indent="-198040" algn="l" defTabSz="914446" rtl="0" eaLnBrk="1" latinLnBrk="0" hangingPunct="1">
              <a:lnSpc>
                <a:spcPct val="100000"/>
              </a:lnSpc>
              <a:spcBef>
                <a:spcPts val="500"/>
              </a:spcBef>
              <a:buSzPct val="100000"/>
              <a:buFont typeface="Wingdings" panose="05000000000000000000" pitchFamily="2" charset="2"/>
              <a:buChar char="§"/>
              <a:defRPr sz="100" kern="1200">
                <a:solidFill>
                  <a:srgbClr val="000000"/>
                </a:solidFill>
                <a:latin typeface="+mn-lt"/>
                <a:ea typeface="+mn-ea"/>
                <a:cs typeface="+mn-cs"/>
              </a:defRPr>
            </a:lvl1pPr>
            <a:lvl2pPr marL="395367" indent="-166721" algn="l" defTabSz="914446" rtl="0" eaLnBrk="1" latinLnBrk="0" hangingPunct="1">
              <a:lnSpc>
                <a:spcPct val="100000"/>
              </a:lnSpc>
              <a:spcBef>
                <a:spcPts val="500"/>
              </a:spcBef>
              <a:buSzPct val="100000"/>
              <a:buFont typeface="Calibri" panose="020F0502020204030204" pitchFamily="34" charset="0"/>
              <a:buChar char="‒"/>
              <a:defRPr sz="100" kern="1200">
                <a:solidFill>
                  <a:srgbClr val="000000"/>
                </a:solidFill>
                <a:latin typeface="+mn-lt"/>
                <a:ea typeface="+mn-ea"/>
                <a:cs typeface="+mn-cs"/>
              </a:defRPr>
            </a:lvl2pPr>
            <a:lvl3pPr marL="594119" indent="-198040" algn="l" defTabSz="914446" rtl="0" eaLnBrk="1" latinLnBrk="0" hangingPunct="1">
              <a:lnSpc>
                <a:spcPct val="100000"/>
              </a:lnSpc>
              <a:spcBef>
                <a:spcPts val="500"/>
              </a:spcBef>
              <a:buSzPct val="100000"/>
              <a:buFont typeface="Calibri" panose="020F0502020204030204" pitchFamily="34" charset="0"/>
              <a:buChar char="‒"/>
              <a:defRPr sz="100" kern="1200">
                <a:solidFill>
                  <a:srgbClr val="000000"/>
                </a:solidFill>
                <a:latin typeface="+mn-lt"/>
                <a:ea typeface="+mn-ea"/>
                <a:cs typeface="+mn-cs"/>
              </a:defRPr>
            </a:lvl3pPr>
            <a:lvl4pPr marL="792158" indent="-198040" algn="l" defTabSz="914446" rtl="0" eaLnBrk="1" latinLnBrk="0" hangingPunct="1">
              <a:lnSpc>
                <a:spcPct val="100000"/>
              </a:lnSpc>
              <a:spcBef>
                <a:spcPts val="500"/>
              </a:spcBef>
              <a:buSzPct val="100000"/>
              <a:buFont typeface="Calibri" panose="020F0502020204030204" pitchFamily="34" charset="0"/>
              <a:buChar char="‒"/>
              <a:defRPr sz="100" kern="1200">
                <a:solidFill>
                  <a:srgbClr val="000000"/>
                </a:solidFill>
                <a:latin typeface="+mn-lt"/>
                <a:ea typeface="+mn-ea"/>
                <a:cs typeface="+mn-cs"/>
              </a:defRPr>
            </a:lvl4pPr>
            <a:lvl5pPr marL="990198" indent="-198040" algn="l" defTabSz="914446" rtl="0" eaLnBrk="1" latinLnBrk="0" hangingPunct="1">
              <a:lnSpc>
                <a:spcPct val="100000"/>
              </a:lnSpc>
              <a:spcBef>
                <a:spcPts val="500"/>
              </a:spcBef>
              <a:buSzPct val="100000"/>
              <a:buFont typeface="Calibri" panose="020F0502020204030204" pitchFamily="34" charset="0"/>
              <a:buChar char="‒"/>
              <a:defRPr sz="100" kern="1200">
                <a:solidFill>
                  <a:srgbClr val="000000"/>
                </a:solidFill>
                <a:latin typeface="+mn-lt"/>
                <a:ea typeface="+mn-ea"/>
                <a:cs typeface="+mn-cs"/>
              </a:defRPr>
            </a:lvl5pPr>
            <a:lvl6pPr marL="2514726"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948"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a:t> </a:t>
            </a:r>
            <a:endParaRPr lang="en-GB" dirty="0"/>
          </a:p>
        </p:txBody>
      </p:sp>
      <p:sp>
        <p:nvSpPr>
          <p:cNvPr id="3" name="TextBox 2">
            <a:extLst>
              <a:ext uri="{FF2B5EF4-FFF2-40B4-BE49-F238E27FC236}">
                <a16:creationId xmlns:a16="http://schemas.microsoft.com/office/drawing/2014/main" id="{AF424D32-BB7D-41DF-9A88-2B6B2688B35A}"/>
              </a:ext>
            </a:extLst>
          </p:cNvPr>
          <p:cNvSpPr txBox="1"/>
          <p:nvPr/>
        </p:nvSpPr>
        <p:spPr>
          <a:xfrm>
            <a:off x="5740728" y="6288359"/>
            <a:ext cx="2130732" cy="365125"/>
          </a:xfrm>
          <a:prstGeom prst="rect">
            <a:avLst/>
          </a:prstGeom>
          <a:solidFill>
            <a:srgbClr val="616F84"/>
          </a:solidFill>
        </p:spPr>
        <p:txBody>
          <a:bodyPr wrap="square" rtlCol="0">
            <a:spAutoFit/>
          </a:bodyPr>
          <a:lstStyle/>
          <a:p>
            <a:endParaRPr lang="en-US" dirty="0"/>
          </a:p>
        </p:txBody>
      </p:sp>
      <p:sp>
        <p:nvSpPr>
          <p:cNvPr id="9" name="Oval 8">
            <a:extLst>
              <a:ext uri="{FF2B5EF4-FFF2-40B4-BE49-F238E27FC236}">
                <a16:creationId xmlns:a16="http://schemas.microsoft.com/office/drawing/2014/main" id="{B25065FF-8B4B-46F2-B7DF-3B8D56E8929C}"/>
              </a:ext>
            </a:extLst>
          </p:cNvPr>
          <p:cNvSpPr/>
          <p:nvPr/>
        </p:nvSpPr>
        <p:spPr>
          <a:xfrm>
            <a:off x="4863169" y="1490052"/>
            <a:ext cx="3885849" cy="3885849"/>
          </a:xfrm>
          <a:prstGeom prst="ellipse">
            <a:avLst/>
          </a:prstGeom>
          <a:solidFill>
            <a:srgbClr val="616F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099" name="608D0453-B2F1-4E98-82AD-41FE32DD10BC">
            <a:extLst>
              <a:ext uri="{FF2B5EF4-FFF2-40B4-BE49-F238E27FC236}">
                <a16:creationId xmlns:a16="http://schemas.microsoft.com/office/drawing/2014/main" id="{C498EB36-AF38-4DB9-8F41-267B2A170E8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871858" y="1596908"/>
            <a:ext cx="3941043" cy="39410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 6">
            <a:extLst>
              <a:ext uri="{FF2B5EF4-FFF2-40B4-BE49-F238E27FC236}">
                <a16:creationId xmlns:a16="http://schemas.microsoft.com/office/drawing/2014/main" id="{FED74EFA-F3D5-4DA6-8353-561E039FB360}"/>
              </a:ext>
            </a:extLst>
          </p:cNvPr>
          <p:cNvGrpSpPr/>
          <p:nvPr/>
        </p:nvGrpSpPr>
        <p:grpSpPr>
          <a:xfrm>
            <a:off x="10295545" y="1527833"/>
            <a:ext cx="1730671" cy="3996587"/>
            <a:chOff x="10461329" y="1527833"/>
            <a:chExt cx="1730671" cy="3996587"/>
          </a:xfrm>
        </p:grpSpPr>
        <p:pic>
          <p:nvPicPr>
            <p:cNvPr id="4" name="Picture 3">
              <a:extLst>
                <a:ext uri="{FF2B5EF4-FFF2-40B4-BE49-F238E27FC236}">
                  <a16:creationId xmlns:a16="http://schemas.microsoft.com/office/drawing/2014/main" id="{D70A98D2-B416-4677-B2B9-F1C4C10FA5EA}"/>
                </a:ext>
              </a:extLst>
            </p:cNvPr>
            <p:cNvPicPr>
              <a:picLocks noChangeAspect="1"/>
            </p:cNvPicPr>
            <p:nvPr/>
          </p:nvPicPr>
          <p:blipFill rotWithShape="1">
            <a:blip r:embed="rId8"/>
            <a:srcRect l="76844" r="4275" b="10861"/>
            <a:stretch/>
          </p:blipFill>
          <p:spPr>
            <a:xfrm>
              <a:off x="10720753" y="1527833"/>
              <a:ext cx="1471247" cy="3996587"/>
            </a:xfrm>
            <a:prstGeom prst="rect">
              <a:avLst/>
            </a:prstGeom>
          </p:spPr>
        </p:pic>
        <p:pic>
          <p:nvPicPr>
            <p:cNvPr id="6" name="Picture 5" descr="Icon&#10;&#10;Description automatically generated">
              <a:extLst>
                <a:ext uri="{FF2B5EF4-FFF2-40B4-BE49-F238E27FC236}">
                  <a16:creationId xmlns:a16="http://schemas.microsoft.com/office/drawing/2014/main" id="{A9761A34-A5FE-4B03-8362-0235885A8CF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461329" y="1629635"/>
              <a:ext cx="223593" cy="240196"/>
            </a:xfrm>
            <a:prstGeom prst="rect">
              <a:avLst/>
            </a:prstGeom>
          </p:spPr>
        </p:pic>
        <p:pic>
          <p:nvPicPr>
            <p:cNvPr id="17" name="Picture 16" descr="Icon&#10;&#10;Description automatically generated">
              <a:extLst>
                <a:ext uri="{FF2B5EF4-FFF2-40B4-BE49-F238E27FC236}">
                  <a16:creationId xmlns:a16="http://schemas.microsoft.com/office/drawing/2014/main" id="{E4AAA8FB-5F52-496C-A3D6-3B551103611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462368" y="1977517"/>
              <a:ext cx="223593" cy="240196"/>
            </a:xfrm>
            <a:prstGeom prst="rect">
              <a:avLst/>
            </a:prstGeom>
          </p:spPr>
        </p:pic>
        <p:pic>
          <p:nvPicPr>
            <p:cNvPr id="18" name="Picture 17" descr="Icon&#10;&#10;Description automatically generated">
              <a:extLst>
                <a:ext uri="{FF2B5EF4-FFF2-40B4-BE49-F238E27FC236}">
                  <a16:creationId xmlns:a16="http://schemas.microsoft.com/office/drawing/2014/main" id="{8350CDEB-ACEF-402B-9464-BFF2394890B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462367" y="2356760"/>
              <a:ext cx="223593" cy="240196"/>
            </a:xfrm>
            <a:prstGeom prst="rect">
              <a:avLst/>
            </a:prstGeom>
          </p:spPr>
        </p:pic>
        <p:pic>
          <p:nvPicPr>
            <p:cNvPr id="21" name="Picture 20" descr="Icon&#10;&#10;Description automatically generated">
              <a:extLst>
                <a:ext uri="{FF2B5EF4-FFF2-40B4-BE49-F238E27FC236}">
                  <a16:creationId xmlns:a16="http://schemas.microsoft.com/office/drawing/2014/main" id="{6087D65B-EECE-4E39-83B3-147E9A59C53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462366" y="2700831"/>
              <a:ext cx="223593" cy="240196"/>
            </a:xfrm>
            <a:prstGeom prst="rect">
              <a:avLst/>
            </a:prstGeom>
          </p:spPr>
        </p:pic>
        <p:pic>
          <p:nvPicPr>
            <p:cNvPr id="27" name="Picture 26" descr="Icon&#10;&#10;Description automatically generated">
              <a:extLst>
                <a:ext uri="{FF2B5EF4-FFF2-40B4-BE49-F238E27FC236}">
                  <a16:creationId xmlns:a16="http://schemas.microsoft.com/office/drawing/2014/main" id="{1C3A03AC-DBF2-4D5C-BC73-D7C2DDC9E95E}"/>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462366" y="3027316"/>
              <a:ext cx="223593" cy="240196"/>
            </a:xfrm>
            <a:prstGeom prst="rect">
              <a:avLst/>
            </a:prstGeom>
          </p:spPr>
        </p:pic>
        <p:pic>
          <p:nvPicPr>
            <p:cNvPr id="28" name="Picture 27" descr="Icon&#10;&#10;Description automatically generated">
              <a:extLst>
                <a:ext uri="{FF2B5EF4-FFF2-40B4-BE49-F238E27FC236}">
                  <a16:creationId xmlns:a16="http://schemas.microsoft.com/office/drawing/2014/main" id="{4F8E6A7D-3DD1-4085-9BB7-C3C93BFF193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462366" y="3344906"/>
              <a:ext cx="223593" cy="240196"/>
            </a:xfrm>
            <a:prstGeom prst="rect">
              <a:avLst/>
            </a:prstGeom>
          </p:spPr>
        </p:pic>
        <p:pic>
          <p:nvPicPr>
            <p:cNvPr id="29" name="Picture 28" descr="Icon&#10;&#10;Description automatically generated">
              <a:extLst>
                <a:ext uri="{FF2B5EF4-FFF2-40B4-BE49-F238E27FC236}">
                  <a16:creationId xmlns:a16="http://schemas.microsoft.com/office/drawing/2014/main" id="{737C1643-7F00-4DCC-BF60-809D6A05F37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462366" y="3691779"/>
              <a:ext cx="223593" cy="240196"/>
            </a:xfrm>
            <a:prstGeom prst="rect">
              <a:avLst/>
            </a:prstGeom>
          </p:spPr>
        </p:pic>
        <p:pic>
          <p:nvPicPr>
            <p:cNvPr id="30" name="Picture 29" descr="Icon&#10;&#10;Description automatically generated">
              <a:extLst>
                <a:ext uri="{FF2B5EF4-FFF2-40B4-BE49-F238E27FC236}">
                  <a16:creationId xmlns:a16="http://schemas.microsoft.com/office/drawing/2014/main" id="{20792053-4166-4AF9-8654-99C0DD8DC0D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467281" y="4072363"/>
              <a:ext cx="223593" cy="240196"/>
            </a:xfrm>
            <a:prstGeom prst="rect">
              <a:avLst/>
            </a:prstGeom>
          </p:spPr>
        </p:pic>
        <p:pic>
          <p:nvPicPr>
            <p:cNvPr id="31" name="Picture 30" descr="Icon&#10;&#10;Description automatically generated">
              <a:extLst>
                <a:ext uri="{FF2B5EF4-FFF2-40B4-BE49-F238E27FC236}">
                  <a16:creationId xmlns:a16="http://schemas.microsoft.com/office/drawing/2014/main" id="{91134A36-2613-42EA-A43C-5762E807158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466388" y="4400336"/>
              <a:ext cx="223593" cy="240196"/>
            </a:xfrm>
            <a:prstGeom prst="rect">
              <a:avLst/>
            </a:prstGeom>
          </p:spPr>
        </p:pic>
        <p:pic>
          <p:nvPicPr>
            <p:cNvPr id="32" name="Picture 31" descr="Icon&#10;&#10;Description automatically generated">
              <a:extLst>
                <a:ext uri="{FF2B5EF4-FFF2-40B4-BE49-F238E27FC236}">
                  <a16:creationId xmlns:a16="http://schemas.microsoft.com/office/drawing/2014/main" id="{189719B9-774C-4A51-B372-EE22CDE0960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461329" y="4757128"/>
              <a:ext cx="223593" cy="240196"/>
            </a:xfrm>
            <a:prstGeom prst="rect">
              <a:avLst/>
            </a:prstGeom>
          </p:spPr>
        </p:pic>
        <p:pic>
          <p:nvPicPr>
            <p:cNvPr id="33" name="Picture 32" descr="Icon&#10;&#10;Description automatically generated">
              <a:extLst>
                <a:ext uri="{FF2B5EF4-FFF2-40B4-BE49-F238E27FC236}">
                  <a16:creationId xmlns:a16="http://schemas.microsoft.com/office/drawing/2014/main" id="{4D14E1F5-2FC7-4F93-8D32-907E178C54C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461329" y="5108439"/>
              <a:ext cx="223593" cy="240196"/>
            </a:xfrm>
            <a:prstGeom prst="rect">
              <a:avLst/>
            </a:prstGeom>
          </p:spPr>
        </p:pic>
      </p:grpSp>
      <p:sp>
        <p:nvSpPr>
          <p:cNvPr id="8" name="Oval 7">
            <a:extLst>
              <a:ext uri="{FF2B5EF4-FFF2-40B4-BE49-F238E27FC236}">
                <a16:creationId xmlns:a16="http://schemas.microsoft.com/office/drawing/2014/main" id="{72E0CED0-B00B-408F-B11B-39D4E0E7676D}"/>
              </a:ext>
            </a:extLst>
          </p:cNvPr>
          <p:cNvSpPr/>
          <p:nvPr/>
        </p:nvSpPr>
        <p:spPr>
          <a:xfrm>
            <a:off x="6538808" y="2267795"/>
            <a:ext cx="2607732" cy="2600538"/>
          </a:xfrm>
          <a:prstGeom prst="ellipse">
            <a:avLst/>
          </a:prstGeom>
          <a:solidFill>
            <a:srgbClr val="616F84"/>
          </a:solidFill>
          <a:ln>
            <a:solidFill>
              <a:srgbClr val="616F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4" name="608D0453-B2F1-4E98-82AD-41FE32DD10BC">
            <a:extLst>
              <a:ext uri="{FF2B5EF4-FFF2-40B4-BE49-F238E27FC236}">
                <a16:creationId xmlns:a16="http://schemas.microsoft.com/office/drawing/2014/main" id="{7AD4BB5B-2C78-4ABC-A97B-0553CA41CE3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7092" t="26945" r="26075" b="26866"/>
          <a:stretch/>
        </p:blipFill>
        <p:spPr bwMode="auto">
          <a:xfrm>
            <a:off x="6936797" y="2656730"/>
            <a:ext cx="1845734" cy="1820333"/>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Oval 34">
            <a:extLst>
              <a:ext uri="{FF2B5EF4-FFF2-40B4-BE49-F238E27FC236}">
                <a16:creationId xmlns:a16="http://schemas.microsoft.com/office/drawing/2014/main" id="{1DFD6B53-1B70-47D2-AD84-0DA317420457}"/>
              </a:ext>
            </a:extLst>
          </p:cNvPr>
          <p:cNvSpPr/>
          <p:nvPr/>
        </p:nvSpPr>
        <p:spPr>
          <a:xfrm>
            <a:off x="6716312" y="2439669"/>
            <a:ext cx="2252133" cy="2254456"/>
          </a:xfrm>
          <a:prstGeom prst="ellipse">
            <a:avLst/>
          </a:prstGeom>
          <a:noFill/>
          <a:ln w="339725">
            <a:solidFill>
              <a:srgbClr val="C5E5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Oval 35">
            <a:extLst>
              <a:ext uri="{FF2B5EF4-FFF2-40B4-BE49-F238E27FC236}">
                <a16:creationId xmlns:a16="http://schemas.microsoft.com/office/drawing/2014/main" id="{6F68C24B-EADD-4865-BEF4-39B6B037A43C}"/>
              </a:ext>
            </a:extLst>
          </p:cNvPr>
          <p:cNvSpPr/>
          <p:nvPr/>
        </p:nvSpPr>
        <p:spPr>
          <a:xfrm rot="16200000">
            <a:off x="6449948" y="1926289"/>
            <a:ext cx="2784861" cy="3056655"/>
          </a:xfrm>
          <a:prstGeom prst="ellipse">
            <a:avLst/>
          </a:prstGeom>
          <a:noFill/>
          <a:ln w="339725">
            <a:noFill/>
          </a:ln>
        </p:spPr>
        <p:style>
          <a:lnRef idx="2">
            <a:schemeClr val="accent1">
              <a:shade val="50000"/>
            </a:schemeClr>
          </a:lnRef>
          <a:fillRef idx="1">
            <a:schemeClr val="accent1"/>
          </a:fillRef>
          <a:effectRef idx="0">
            <a:schemeClr val="accent1"/>
          </a:effectRef>
          <a:fontRef idx="minor">
            <a:schemeClr val="lt1"/>
          </a:fontRef>
        </p:style>
        <p:txBody>
          <a:bodyPr rtlCol="0" anchor="ctr">
            <a:prstTxWarp prst="textCircle">
              <a:avLst/>
            </a:prstTxWarp>
            <a:scene3d>
              <a:camera prst="orthographicFront">
                <a:rot lat="0" lon="0" rev="0"/>
              </a:camera>
              <a:lightRig rig="threePt" dir="t"/>
            </a:scene3d>
          </a:bodyPr>
          <a:lstStyle/>
          <a:p>
            <a:pPr algn="ctr"/>
            <a:r>
              <a:rPr lang="en-US" sz="1100" dirty="0">
                <a:solidFill>
                  <a:schemeClr val="tx1"/>
                </a:solidFill>
                <a:latin typeface="Bahnschrift Condensed" panose="020B0502040204020203" pitchFamily="34" charset="0"/>
              </a:rPr>
              <a:t>Asset Management Process layer</a:t>
            </a:r>
          </a:p>
        </p:txBody>
      </p:sp>
    </p:spTree>
    <p:extLst>
      <p:ext uri="{BB962C8B-B14F-4D97-AF65-F5344CB8AC3E}">
        <p14:creationId xmlns:p14="http://schemas.microsoft.com/office/powerpoint/2010/main" val="34456494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36"/>
                                        </p:tgtEl>
                                        <p:attrNameLst>
                                          <p:attrName>style.visibility</p:attrName>
                                        </p:attrNameLst>
                                      </p:cBhvr>
                                      <p:to>
                                        <p:strVal val="hidden"/>
                                      </p:to>
                                    </p:set>
                                  </p:childTnLst>
                                </p:cTn>
                              </p:par>
                              <p:par>
                                <p:cTn id="9" presetID="1" presetClass="exit" presetSubtype="0" fill="hold" nodeType="withEffect">
                                  <p:stCondLst>
                                    <p:cond delay="0"/>
                                  </p:stCondLst>
                                  <p:childTnLst>
                                    <p:set>
                                      <p:cBhvr>
                                        <p:cTn id="10" dur="1" fill="hold">
                                          <p:stCondLst>
                                            <p:cond delay="0"/>
                                          </p:stCondLst>
                                        </p:cTn>
                                        <p:tgtEl>
                                          <p:spTgt spid="34"/>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35" grpId="0" animBg="1"/>
      <p:bldP spid="36"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CDC9CC-22CF-4556-8B5E-8E0846122372}"/>
              </a:ext>
            </a:extLst>
          </p:cNvPr>
          <p:cNvSpPr>
            <a:spLocks noGrp="1"/>
          </p:cNvSpPr>
          <p:nvPr>
            <p:ph type="title"/>
          </p:nvPr>
        </p:nvSpPr>
        <p:spPr>
          <a:xfrm>
            <a:off x="2034805" y="691698"/>
            <a:ext cx="8106895" cy="923586"/>
          </a:xfrm>
        </p:spPr>
        <p:txBody>
          <a:bodyPr/>
          <a:lstStyle/>
          <a:p>
            <a:r>
              <a:rPr lang="en-US" dirty="0"/>
              <a:t>The industrial work surface enables upstream companies in improving their operating models</a:t>
            </a:r>
          </a:p>
        </p:txBody>
      </p:sp>
      <p:sp>
        <p:nvSpPr>
          <p:cNvPr id="5" name="Slide Number Placeholder 4">
            <a:extLst>
              <a:ext uri="{FF2B5EF4-FFF2-40B4-BE49-F238E27FC236}">
                <a16:creationId xmlns:a16="http://schemas.microsoft.com/office/drawing/2014/main" id="{D40A3F29-43D4-4A8D-ADCF-7B5B529F6791}"/>
              </a:ext>
            </a:extLst>
          </p:cNvPr>
          <p:cNvSpPr>
            <a:spLocks noGrp="1"/>
          </p:cNvSpPr>
          <p:nvPr>
            <p:ph type="sldNum" sz="quarter" idx="18"/>
          </p:nvPr>
        </p:nvSpPr>
        <p:spPr/>
        <p:txBody>
          <a:bodyPr/>
          <a:lstStyle/>
          <a:p>
            <a:fld id="{7A3F00B2-786C-401B-9EB3-42A9D0DD4A9F}" type="slidenum">
              <a:rPr lang="nb-NO" smtClean="0"/>
              <a:pPr/>
              <a:t>17</a:t>
            </a:fld>
            <a:endParaRPr lang="nb-NO"/>
          </a:p>
        </p:txBody>
      </p:sp>
      <p:sp>
        <p:nvSpPr>
          <p:cNvPr id="8" name="Slide Number Placeholder 4">
            <a:extLst>
              <a:ext uri="{FF2B5EF4-FFF2-40B4-BE49-F238E27FC236}">
                <a16:creationId xmlns:a16="http://schemas.microsoft.com/office/drawing/2014/main" id="{5140C422-7966-4A62-9352-AA452B3157C4}"/>
              </a:ext>
            </a:extLst>
          </p:cNvPr>
          <p:cNvSpPr txBox="1">
            <a:spLocks/>
          </p:cNvSpPr>
          <p:nvPr/>
        </p:nvSpPr>
        <p:spPr>
          <a:xfrm>
            <a:off x="10840861" y="6288359"/>
            <a:ext cx="761921" cy="365125"/>
          </a:xfrm>
          <a:prstGeom prst="rect">
            <a:avLst/>
          </a:prstGeom>
        </p:spPr>
        <p:txBody>
          <a:bodyPr vert="horz" lIns="91440" tIns="45720" rIns="91440" bIns="45720" rtlCol="0" anchor="ctr"/>
          <a:lstStyle>
            <a:defPPr>
              <a:defRPr lang="en-US"/>
            </a:defPPr>
            <a:lvl1pPr marL="0" algn="r" defTabSz="914400" rtl="0" eaLnBrk="1" latinLnBrk="0" hangingPunct="1">
              <a:defRPr sz="900" b="1" kern="1200">
                <a:solidFill>
                  <a:srgbClr val="999999"/>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A3F00B2-786C-401B-9EB3-42A9D0DD4A9F}" type="slidenum">
              <a:rPr lang="nb-NO" smtClean="0"/>
              <a:pPr/>
              <a:t>17</a:t>
            </a:fld>
            <a:endParaRPr lang="nb-NO" dirty="0"/>
          </a:p>
        </p:txBody>
      </p:sp>
      <p:sp>
        <p:nvSpPr>
          <p:cNvPr id="9" name="TextBox 8">
            <a:extLst>
              <a:ext uri="{FF2B5EF4-FFF2-40B4-BE49-F238E27FC236}">
                <a16:creationId xmlns:a16="http://schemas.microsoft.com/office/drawing/2014/main" id="{E18A359A-8F83-4C76-8AC7-DE489E6C665A}"/>
              </a:ext>
            </a:extLst>
          </p:cNvPr>
          <p:cNvSpPr txBox="1"/>
          <p:nvPr/>
        </p:nvSpPr>
        <p:spPr>
          <a:xfrm>
            <a:off x="8932258" y="1808875"/>
            <a:ext cx="2159978" cy="307777"/>
          </a:xfrm>
          <a:prstGeom prst="rect">
            <a:avLst/>
          </a:prstGeom>
          <a:noFill/>
        </p:spPr>
        <p:txBody>
          <a:bodyPr wrap="square" rtlCol="0">
            <a:spAutoFit/>
          </a:bodyPr>
          <a:lstStyle/>
          <a:p>
            <a:r>
              <a:rPr lang="en-US" sz="1400" b="1" dirty="0"/>
              <a:t>Improved Operating Model</a:t>
            </a:r>
          </a:p>
        </p:txBody>
      </p:sp>
      <p:pic>
        <p:nvPicPr>
          <p:cNvPr id="11" name="Picture 10">
            <a:extLst>
              <a:ext uri="{FF2B5EF4-FFF2-40B4-BE49-F238E27FC236}">
                <a16:creationId xmlns:a16="http://schemas.microsoft.com/office/drawing/2014/main" id="{01D83B68-D356-443B-8D8B-2375C3C5D46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88704" y="3804576"/>
            <a:ext cx="954228" cy="954228"/>
          </a:xfrm>
          <a:prstGeom prst="rect">
            <a:avLst/>
          </a:prstGeom>
        </p:spPr>
      </p:pic>
      <p:cxnSp>
        <p:nvCxnSpPr>
          <p:cNvPr id="12" name="Straight Connector 11">
            <a:extLst>
              <a:ext uri="{FF2B5EF4-FFF2-40B4-BE49-F238E27FC236}">
                <a16:creationId xmlns:a16="http://schemas.microsoft.com/office/drawing/2014/main" id="{BB54AC64-51DD-4159-B3C1-9E5D6FAA5EBF}"/>
              </a:ext>
            </a:extLst>
          </p:cNvPr>
          <p:cNvCxnSpPr>
            <a:cxnSpLocks/>
            <a:endCxn id="11" idx="0"/>
          </p:cNvCxnSpPr>
          <p:nvPr/>
        </p:nvCxnSpPr>
        <p:spPr>
          <a:xfrm flipH="1">
            <a:off x="9165818" y="3265475"/>
            <a:ext cx="677451" cy="539101"/>
          </a:xfrm>
          <a:prstGeom prst="line">
            <a:avLst/>
          </a:prstGeom>
          <a:ln w="3175">
            <a:solidFill>
              <a:srgbClr val="A8AEB5"/>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7B63D8CF-BDF1-422F-BFCE-69E56920769D}"/>
              </a:ext>
            </a:extLst>
          </p:cNvPr>
          <p:cNvCxnSpPr>
            <a:cxnSpLocks/>
            <a:endCxn id="16" idx="0"/>
          </p:cNvCxnSpPr>
          <p:nvPr/>
        </p:nvCxnSpPr>
        <p:spPr>
          <a:xfrm>
            <a:off x="9973960" y="3265475"/>
            <a:ext cx="0" cy="539101"/>
          </a:xfrm>
          <a:prstGeom prst="line">
            <a:avLst/>
          </a:prstGeom>
          <a:ln w="3175">
            <a:solidFill>
              <a:srgbClr val="A8AEB5"/>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79D4936-B4AC-490C-A22D-6B9B18DF8BCC}"/>
              </a:ext>
            </a:extLst>
          </p:cNvPr>
          <p:cNvCxnSpPr>
            <a:cxnSpLocks/>
            <a:endCxn id="17" idx="0"/>
          </p:cNvCxnSpPr>
          <p:nvPr/>
        </p:nvCxnSpPr>
        <p:spPr>
          <a:xfrm>
            <a:off x="10149712" y="3246182"/>
            <a:ext cx="650862" cy="558394"/>
          </a:xfrm>
          <a:prstGeom prst="line">
            <a:avLst/>
          </a:prstGeom>
          <a:ln w="3175">
            <a:solidFill>
              <a:srgbClr val="A8AEB5"/>
            </a:solidFill>
            <a:prstDash val="dash"/>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90DA1CE3-3347-47B6-9C56-136F23A0644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43701" y="2375904"/>
            <a:ext cx="537092" cy="537092"/>
          </a:xfrm>
          <a:prstGeom prst="rect">
            <a:avLst/>
          </a:prstGeom>
        </p:spPr>
      </p:pic>
      <p:pic>
        <p:nvPicPr>
          <p:cNvPr id="16" name="Picture 15">
            <a:extLst>
              <a:ext uri="{FF2B5EF4-FFF2-40B4-BE49-F238E27FC236}">
                <a16:creationId xmlns:a16="http://schemas.microsoft.com/office/drawing/2014/main" id="{0ABD1C48-4089-45D2-B68E-1589B6DC9E2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96846" y="3804576"/>
            <a:ext cx="954228" cy="954228"/>
          </a:xfrm>
          <a:prstGeom prst="rect">
            <a:avLst/>
          </a:prstGeom>
        </p:spPr>
      </p:pic>
      <p:pic>
        <p:nvPicPr>
          <p:cNvPr id="17" name="Picture 16">
            <a:extLst>
              <a:ext uri="{FF2B5EF4-FFF2-40B4-BE49-F238E27FC236}">
                <a16:creationId xmlns:a16="http://schemas.microsoft.com/office/drawing/2014/main" id="{100D0885-4645-4BCE-B3D6-403BAAEAB8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323460" y="3804576"/>
            <a:ext cx="954228" cy="954228"/>
          </a:xfrm>
          <a:prstGeom prst="rect">
            <a:avLst/>
          </a:prstGeom>
        </p:spPr>
      </p:pic>
      <p:sp>
        <p:nvSpPr>
          <p:cNvPr id="18" name="TextBox 17">
            <a:extLst>
              <a:ext uri="{FF2B5EF4-FFF2-40B4-BE49-F238E27FC236}">
                <a16:creationId xmlns:a16="http://schemas.microsoft.com/office/drawing/2014/main" id="{C15FA279-48C3-460B-9EED-AAD220FA8A8F}"/>
              </a:ext>
            </a:extLst>
          </p:cNvPr>
          <p:cNvSpPr txBox="1"/>
          <p:nvPr/>
        </p:nvSpPr>
        <p:spPr>
          <a:xfrm>
            <a:off x="10716217" y="2355828"/>
            <a:ext cx="1355093" cy="1169551"/>
          </a:xfrm>
          <a:prstGeom prst="rect">
            <a:avLst/>
          </a:prstGeom>
          <a:noFill/>
        </p:spPr>
        <p:txBody>
          <a:bodyPr wrap="square" rtlCol="0">
            <a:spAutoFit/>
          </a:bodyPr>
          <a:lstStyle/>
          <a:p>
            <a:r>
              <a:rPr lang="en-US" sz="1400" dirty="0"/>
              <a:t>Centralized teams manage many assets, with higher efficiency </a:t>
            </a:r>
          </a:p>
        </p:txBody>
      </p:sp>
      <p:sp>
        <p:nvSpPr>
          <p:cNvPr id="22" name="TextBox 21">
            <a:extLst>
              <a:ext uri="{FF2B5EF4-FFF2-40B4-BE49-F238E27FC236}">
                <a16:creationId xmlns:a16="http://schemas.microsoft.com/office/drawing/2014/main" id="{D1333292-77C1-4C00-AC01-8DBFC28AD716}"/>
              </a:ext>
            </a:extLst>
          </p:cNvPr>
          <p:cNvSpPr txBox="1"/>
          <p:nvPr/>
        </p:nvSpPr>
        <p:spPr>
          <a:xfrm>
            <a:off x="7150252" y="5261750"/>
            <a:ext cx="4835515" cy="954107"/>
          </a:xfrm>
          <a:prstGeom prst="rect">
            <a:avLst/>
          </a:prstGeom>
          <a:noFill/>
          <a:ln>
            <a:solidFill>
              <a:schemeClr val="accent2"/>
            </a:solidFill>
          </a:ln>
        </p:spPr>
        <p:txBody>
          <a:bodyPr wrap="square" rtlCol="0">
            <a:spAutoFit/>
          </a:bodyPr>
          <a:lstStyle/>
          <a:p>
            <a:r>
              <a:rPr lang="en-US" sz="1400" dirty="0"/>
              <a:t>Demand from the assets drives organizational flexibility in the supporting teams, whether they are onsite, offsite in integrated ops centers or remote. Experts address issues across a portfolio of assets, enabling leaner, more efficient and data-driven teams</a:t>
            </a:r>
          </a:p>
        </p:txBody>
      </p:sp>
      <p:pic>
        <p:nvPicPr>
          <p:cNvPr id="39" name="Picture 38">
            <a:extLst>
              <a:ext uri="{FF2B5EF4-FFF2-40B4-BE49-F238E27FC236}">
                <a16:creationId xmlns:a16="http://schemas.microsoft.com/office/drawing/2014/main" id="{1785A259-D484-4212-9394-2C6061991C9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737927" y="2923212"/>
            <a:ext cx="548640" cy="548640"/>
          </a:xfrm>
          <a:prstGeom prst="rect">
            <a:avLst/>
          </a:prstGeom>
        </p:spPr>
      </p:pic>
      <p:sp>
        <p:nvSpPr>
          <p:cNvPr id="44" name="AutoShape 12">
            <a:extLst>
              <a:ext uri="{FF2B5EF4-FFF2-40B4-BE49-F238E27FC236}">
                <a16:creationId xmlns:a16="http://schemas.microsoft.com/office/drawing/2014/main" id="{26BBA5D1-DC27-4786-A57C-C8A8F36775DD}"/>
              </a:ext>
            </a:extLst>
          </p:cNvPr>
          <p:cNvSpPr>
            <a:spLocks noChangeAspect="1" noChangeArrowheads="1"/>
          </p:cNvSpPr>
          <p:nvPr/>
        </p:nvSpPr>
        <p:spPr bwMode="auto">
          <a:xfrm>
            <a:off x="3795711" y="3599124"/>
            <a:ext cx="156225" cy="304800"/>
          </a:xfrm>
          <a:prstGeom prst="rect">
            <a:avLst/>
          </a:prstGeom>
          <a:noFill/>
          <a:effectLst>
            <a:innerShdw>
              <a:srgbClr val="001639"/>
            </a:innerShdw>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200" dirty="0"/>
          </a:p>
        </p:txBody>
      </p:sp>
      <p:grpSp>
        <p:nvGrpSpPr>
          <p:cNvPr id="3" name="Group 2">
            <a:extLst>
              <a:ext uri="{FF2B5EF4-FFF2-40B4-BE49-F238E27FC236}">
                <a16:creationId xmlns:a16="http://schemas.microsoft.com/office/drawing/2014/main" id="{27CC21AE-97E7-431F-8438-E47921C3FCEA}"/>
              </a:ext>
            </a:extLst>
          </p:cNvPr>
          <p:cNvGrpSpPr/>
          <p:nvPr/>
        </p:nvGrpSpPr>
        <p:grpSpPr>
          <a:xfrm>
            <a:off x="450208" y="2484863"/>
            <a:ext cx="2950538" cy="548640"/>
            <a:chOff x="450208" y="2403583"/>
            <a:chExt cx="2950538" cy="548640"/>
          </a:xfrm>
        </p:grpSpPr>
        <p:sp>
          <p:nvSpPr>
            <p:cNvPr id="40" name="Title 11">
              <a:extLst>
                <a:ext uri="{FF2B5EF4-FFF2-40B4-BE49-F238E27FC236}">
                  <a16:creationId xmlns:a16="http://schemas.microsoft.com/office/drawing/2014/main" id="{15E87105-72E2-460D-BC51-9D2595560079}"/>
                </a:ext>
              </a:extLst>
            </p:cNvPr>
            <p:cNvSpPr txBox="1">
              <a:spLocks/>
            </p:cNvSpPr>
            <p:nvPr/>
          </p:nvSpPr>
          <p:spPr>
            <a:xfrm>
              <a:off x="1233863" y="2437838"/>
              <a:ext cx="2166883" cy="480131"/>
            </a:xfrm>
            <a:prstGeom prst="rect">
              <a:avLst/>
            </a:prstGeom>
          </p:spPr>
          <p:txBody>
            <a:bodyPr vert="horz" wrap="square" lIns="0" tIns="45720" rIns="0" bIns="45720" rtlCol="0" anchor="ctr" anchorCtr="0">
              <a:spAutoFit/>
            </a:bodyPr>
            <a:lstStyle>
              <a:lvl1pPr algn="ctr" defTabSz="914446" rtl="0" eaLnBrk="1" latinLnBrk="0" hangingPunct="1">
                <a:lnSpc>
                  <a:spcPct val="90000"/>
                </a:lnSpc>
                <a:spcBef>
                  <a:spcPct val="0"/>
                </a:spcBef>
                <a:buNone/>
                <a:defRPr sz="3001" b="1" kern="1200">
                  <a:solidFill>
                    <a:srgbClr val="001639"/>
                  </a:solidFill>
                  <a:latin typeface="Calibri" panose="020F0502020204030204" pitchFamily="34" charset="0"/>
                  <a:ea typeface="+mj-ea"/>
                  <a:cs typeface="Calibri" panose="020F0502020204030204" pitchFamily="34" charset="0"/>
                </a:defRPr>
              </a:lvl1pPr>
            </a:lstStyle>
            <a:p>
              <a:pPr algn="l"/>
              <a:r>
                <a:rPr lang="en-US" sz="1400" b="0" dirty="0">
                  <a:latin typeface="+mj-lt"/>
                </a:rPr>
                <a:t>True business process integration – Closing the loop</a:t>
              </a:r>
            </a:p>
          </p:txBody>
        </p:sp>
        <p:pic>
          <p:nvPicPr>
            <p:cNvPr id="45" name="Picture 44">
              <a:extLst>
                <a:ext uri="{FF2B5EF4-FFF2-40B4-BE49-F238E27FC236}">
                  <a16:creationId xmlns:a16="http://schemas.microsoft.com/office/drawing/2014/main" id="{8FC7BA45-853C-411A-B51F-6115739B27E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50208" y="2403583"/>
              <a:ext cx="548640" cy="548640"/>
            </a:xfrm>
            <a:prstGeom prst="rect">
              <a:avLst/>
            </a:prstGeom>
            <a:effectLst>
              <a:innerShdw blurRad="114300">
                <a:srgbClr val="001639"/>
              </a:innerShdw>
            </a:effectLst>
          </p:spPr>
        </p:pic>
      </p:grpSp>
      <p:grpSp>
        <p:nvGrpSpPr>
          <p:cNvPr id="4" name="Group 3">
            <a:extLst>
              <a:ext uri="{FF2B5EF4-FFF2-40B4-BE49-F238E27FC236}">
                <a16:creationId xmlns:a16="http://schemas.microsoft.com/office/drawing/2014/main" id="{04962323-80F7-408E-A6B7-CE6D1E8FB21A}"/>
              </a:ext>
            </a:extLst>
          </p:cNvPr>
          <p:cNvGrpSpPr/>
          <p:nvPr/>
        </p:nvGrpSpPr>
        <p:grpSpPr>
          <a:xfrm>
            <a:off x="443821" y="3211278"/>
            <a:ext cx="3182822" cy="548640"/>
            <a:chOff x="443821" y="3130664"/>
            <a:chExt cx="3182822" cy="548640"/>
          </a:xfrm>
        </p:grpSpPr>
        <p:sp>
          <p:nvSpPr>
            <p:cNvPr id="42" name="Title 11">
              <a:extLst>
                <a:ext uri="{FF2B5EF4-FFF2-40B4-BE49-F238E27FC236}">
                  <a16:creationId xmlns:a16="http://schemas.microsoft.com/office/drawing/2014/main" id="{AF5D243C-E084-4E84-8820-15327535B681}"/>
                </a:ext>
              </a:extLst>
            </p:cNvPr>
            <p:cNvSpPr txBox="1">
              <a:spLocks/>
            </p:cNvSpPr>
            <p:nvPr/>
          </p:nvSpPr>
          <p:spPr>
            <a:xfrm>
              <a:off x="1233863" y="3156165"/>
              <a:ext cx="2392780" cy="480131"/>
            </a:xfrm>
            <a:prstGeom prst="rect">
              <a:avLst/>
            </a:prstGeom>
          </p:spPr>
          <p:txBody>
            <a:bodyPr vert="horz" wrap="square" lIns="0" tIns="45720" rIns="0" bIns="45720" rtlCol="0" anchor="ctr" anchorCtr="0">
              <a:spAutoFit/>
            </a:bodyPr>
            <a:lstStyle>
              <a:lvl1pPr algn="ctr" defTabSz="914446" rtl="0" eaLnBrk="1" latinLnBrk="0" hangingPunct="1">
                <a:lnSpc>
                  <a:spcPct val="90000"/>
                </a:lnSpc>
                <a:spcBef>
                  <a:spcPct val="0"/>
                </a:spcBef>
                <a:buNone/>
                <a:defRPr sz="3001" b="1" kern="1200">
                  <a:solidFill>
                    <a:srgbClr val="001639"/>
                  </a:solidFill>
                  <a:latin typeface="Calibri" panose="020F0502020204030204" pitchFamily="34" charset="0"/>
                  <a:ea typeface="+mj-ea"/>
                  <a:cs typeface="Calibri" panose="020F0502020204030204" pitchFamily="34" charset="0"/>
                </a:defRPr>
              </a:lvl1pPr>
            </a:lstStyle>
            <a:p>
              <a:pPr algn="l"/>
              <a:r>
                <a:rPr lang="en-US" sz="1400" b="0" dirty="0">
                  <a:latin typeface="+mj-lt"/>
                </a:rPr>
                <a:t>3</a:t>
              </a:r>
              <a:r>
                <a:rPr lang="en-US" sz="1400" b="0" baseline="30000" dirty="0">
                  <a:latin typeface="+mj-lt"/>
                </a:rPr>
                <a:t>rd</a:t>
              </a:r>
              <a:r>
                <a:rPr lang="en-US" sz="1400" b="0" dirty="0">
                  <a:latin typeface="+mj-lt"/>
                </a:rPr>
                <a:t> party integrations and interoperable ecosystems</a:t>
              </a:r>
            </a:p>
          </p:txBody>
        </p:sp>
        <p:pic>
          <p:nvPicPr>
            <p:cNvPr id="47" name="Picture 46">
              <a:extLst>
                <a:ext uri="{FF2B5EF4-FFF2-40B4-BE49-F238E27FC236}">
                  <a16:creationId xmlns:a16="http://schemas.microsoft.com/office/drawing/2014/main" id="{1744E654-772D-4DAB-BB66-2CE6E484211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3821" y="3130664"/>
              <a:ext cx="548640" cy="548640"/>
            </a:xfrm>
            <a:prstGeom prst="rect">
              <a:avLst/>
            </a:prstGeom>
            <a:effectLst>
              <a:innerShdw blurRad="114300">
                <a:srgbClr val="001639"/>
              </a:innerShdw>
            </a:effectLst>
          </p:spPr>
        </p:pic>
      </p:grpSp>
      <p:grpSp>
        <p:nvGrpSpPr>
          <p:cNvPr id="6" name="Group 5">
            <a:extLst>
              <a:ext uri="{FF2B5EF4-FFF2-40B4-BE49-F238E27FC236}">
                <a16:creationId xmlns:a16="http://schemas.microsoft.com/office/drawing/2014/main" id="{B47E9BEC-B8C7-4CB2-9F26-BF91F931ACFC}"/>
              </a:ext>
            </a:extLst>
          </p:cNvPr>
          <p:cNvGrpSpPr/>
          <p:nvPr/>
        </p:nvGrpSpPr>
        <p:grpSpPr>
          <a:xfrm>
            <a:off x="450208" y="3937693"/>
            <a:ext cx="3111082" cy="548640"/>
            <a:chOff x="450208" y="3856413"/>
            <a:chExt cx="3111082" cy="548640"/>
          </a:xfrm>
        </p:grpSpPr>
        <p:sp>
          <p:nvSpPr>
            <p:cNvPr id="43" name="Title 11">
              <a:extLst>
                <a:ext uri="{FF2B5EF4-FFF2-40B4-BE49-F238E27FC236}">
                  <a16:creationId xmlns:a16="http://schemas.microsoft.com/office/drawing/2014/main" id="{7D5BFA66-89E3-47A5-A935-346560750DBB}"/>
                </a:ext>
              </a:extLst>
            </p:cNvPr>
            <p:cNvSpPr txBox="1">
              <a:spLocks/>
            </p:cNvSpPr>
            <p:nvPr/>
          </p:nvSpPr>
          <p:spPr>
            <a:xfrm>
              <a:off x="1233862" y="3915458"/>
              <a:ext cx="2327428" cy="480131"/>
            </a:xfrm>
            <a:prstGeom prst="rect">
              <a:avLst/>
            </a:prstGeom>
          </p:spPr>
          <p:txBody>
            <a:bodyPr vert="horz" wrap="square" lIns="0" tIns="45720" rIns="0" bIns="45720" rtlCol="0" anchor="ctr" anchorCtr="0">
              <a:spAutoFit/>
            </a:bodyPr>
            <a:lstStyle>
              <a:lvl1pPr algn="ctr" defTabSz="914446" rtl="0" eaLnBrk="1" latinLnBrk="0" hangingPunct="1">
                <a:lnSpc>
                  <a:spcPct val="90000"/>
                </a:lnSpc>
                <a:spcBef>
                  <a:spcPct val="0"/>
                </a:spcBef>
                <a:buNone/>
                <a:defRPr sz="3001" b="1" kern="1200">
                  <a:solidFill>
                    <a:srgbClr val="001639"/>
                  </a:solidFill>
                  <a:latin typeface="Calibri" panose="020F0502020204030204" pitchFamily="34" charset="0"/>
                  <a:ea typeface="+mj-ea"/>
                  <a:cs typeface="Calibri" panose="020F0502020204030204" pitchFamily="34" charset="0"/>
                </a:defRPr>
              </a:lvl1pPr>
            </a:lstStyle>
            <a:p>
              <a:pPr algn="l"/>
              <a:r>
                <a:rPr lang="en-US" sz="1400" b="0" dirty="0">
                  <a:latin typeface="+mj-lt"/>
                </a:rPr>
                <a:t>Connectivity and analytics across asset portfolios</a:t>
              </a:r>
            </a:p>
          </p:txBody>
        </p:sp>
        <p:pic>
          <p:nvPicPr>
            <p:cNvPr id="48" name="Picture 47">
              <a:extLst>
                <a:ext uri="{FF2B5EF4-FFF2-40B4-BE49-F238E27FC236}">
                  <a16:creationId xmlns:a16="http://schemas.microsoft.com/office/drawing/2014/main" id="{8E5E9486-BB9E-4746-BD22-204CE7A73F9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0208" y="3856413"/>
              <a:ext cx="548640" cy="548640"/>
            </a:xfrm>
            <a:prstGeom prst="rect">
              <a:avLst/>
            </a:prstGeom>
            <a:effectLst>
              <a:innerShdw blurRad="114300">
                <a:srgbClr val="001639"/>
              </a:innerShdw>
            </a:effectLst>
          </p:spPr>
        </p:pic>
      </p:grpSp>
      <p:pic>
        <p:nvPicPr>
          <p:cNvPr id="49" name="608D0453-B2F1-4E98-82AD-41FE32DD10BC">
            <a:extLst>
              <a:ext uri="{FF2B5EF4-FFF2-40B4-BE49-F238E27FC236}">
                <a16:creationId xmlns:a16="http://schemas.microsoft.com/office/drawing/2014/main" id="{B65F2A75-0A8D-40AE-B086-22E910D836E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781183" y="2294544"/>
            <a:ext cx="2728703" cy="27287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 name="Oval 49">
            <a:extLst>
              <a:ext uri="{FF2B5EF4-FFF2-40B4-BE49-F238E27FC236}">
                <a16:creationId xmlns:a16="http://schemas.microsoft.com/office/drawing/2014/main" id="{0F4DB890-0030-4D1A-8E42-55C0100BC0E5}"/>
              </a:ext>
            </a:extLst>
          </p:cNvPr>
          <p:cNvSpPr/>
          <p:nvPr/>
        </p:nvSpPr>
        <p:spPr>
          <a:xfrm>
            <a:off x="5242967" y="2759422"/>
            <a:ext cx="1805544" cy="1800563"/>
          </a:xfrm>
          <a:prstGeom prst="ellipse">
            <a:avLst/>
          </a:prstGeom>
          <a:solidFill>
            <a:srgbClr val="616F84"/>
          </a:solidFill>
          <a:ln>
            <a:solidFill>
              <a:srgbClr val="616F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1" name="608D0453-B2F1-4E98-82AD-41FE32DD10BC">
            <a:extLst>
              <a:ext uri="{FF2B5EF4-FFF2-40B4-BE49-F238E27FC236}">
                <a16:creationId xmlns:a16="http://schemas.microsoft.com/office/drawing/2014/main" id="{658BECEC-768B-496E-AAA9-36C1A5BA6BC8}"/>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l="27092" t="26945" r="26075" b="26866"/>
          <a:stretch/>
        </p:blipFill>
        <p:spPr bwMode="auto">
          <a:xfrm>
            <a:off x="5518527" y="3028714"/>
            <a:ext cx="1277951" cy="1260364"/>
          </a:xfrm>
          <a:prstGeom prst="ellipse">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 name="Oval 51">
            <a:extLst>
              <a:ext uri="{FF2B5EF4-FFF2-40B4-BE49-F238E27FC236}">
                <a16:creationId xmlns:a16="http://schemas.microsoft.com/office/drawing/2014/main" id="{82DE31F5-1F6A-4F50-82C4-2EEAD66FAC98}"/>
              </a:ext>
            </a:extLst>
          </p:cNvPr>
          <p:cNvSpPr/>
          <p:nvPr/>
        </p:nvSpPr>
        <p:spPr>
          <a:xfrm>
            <a:off x="5365868" y="2878425"/>
            <a:ext cx="1559334" cy="1560942"/>
          </a:xfrm>
          <a:prstGeom prst="ellipse">
            <a:avLst/>
          </a:prstGeom>
          <a:noFill/>
          <a:ln w="339725">
            <a:solidFill>
              <a:srgbClr val="C5E5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Oval 52">
            <a:extLst>
              <a:ext uri="{FF2B5EF4-FFF2-40B4-BE49-F238E27FC236}">
                <a16:creationId xmlns:a16="http://schemas.microsoft.com/office/drawing/2014/main" id="{E860F706-84D6-4A1E-A5B7-327D8B077CB1}"/>
              </a:ext>
            </a:extLst>
          </p:cNvPr>
          <p:cNvSpPr/>
          <p:nvPr/>
        </p:nvSpPr>
        <p:spPr>
          <a:xfrm rot="16200000">
            <a:off x="5181443" y="2522970"/>
            <a:ext cx="1928185" cy="2116370"/>
          </a:xfrm>
          <a:prstGeom prst="ellipse">
            <a:avLst/>
          </a:prstGeom>
          <a:noFill/>
          <a:ln w="339725">
            <a:noFill/>
          </a:ln>
        </p:spPr>
        <p:style>
          <a:lnRef idx="2">
            <a:schemeClr val="accent1">
              <a:shade val="50000"/>
            </a:schemeClr>
          </a:lnRef>
          <a:fillRef idx="1">
            <a:schemeClr val="accent1"/>
          </a:fillRef>
          <a:effectRef idx="0">
            <a:schemeClr val="accent1"/>
          </a:effectRef>
          <a:fontRef idx="minor">
            <a:schemeClr val="lt1"/>
          </a:fontRef>
        </p:style>
        <p:txBody>
          <a:bodyPr rtlCol="0" anchor="ctr">
            <a:prstTxWarp prst="textCircle">
              <a:avLst/>
            </a:prstTxWarp>
            <a:scene3d>
              <a:camera prst="orthographicFront">
                <a:rot lat="0" lon="0" rev="0"/>
              </a:camera>
              <a:lightRig rig="threePt" dir="t"/>
            </a:scene3d>
          </a:bodyPr>
          <a:lstStyle/>
          <a:p>
            <a:pPr algn="ctr"/>
            <a:r>
              <a:rPr lang="en-US" sz="700" dirty="0">
                <a:solidFill>
                  <a:schemeClr val="tx1"/>
                </a:solidFill>
                <a:latin typeface="Bahnschrift Condensed" panose="020B0502040204020203" pitchFamily="34" charset="0"/>
              </a:rPr>
              <a:t>Asset Management Process layer</a:t>
            </a:r>
          </a:p>
        </p:txBody>
      </p:sp>
      <p:cxnSp>
        <p:nvCxnSpPr>
          <p:cNvPr id="55" name="Straight Connector 54">
            <a:extLst>
              <a:ext uri="{FF2B5EF4-FFF2-40B4-BE49-F238E27FC236}">
                <a16:creationId xmlns:a16="http://schemas.microsoft.com/office/drawing/2014/main" id="{77FB6A46-0644-485F-A626-9F7CF5D81C22}"/>
              </a:ext>
            </a:extLst>
          </p:cNvPr>
          <p:cNvCxnSpPr/>
          <p:nvPr/>
        </p:nvCxnSpPr>
        <p:spPr>
          <a:xfrm flipH="1">
            <a:off x="4886757" y="4577015"/>
            <a:ext cx="356210" cy="462337"/>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0F6215D8-3F36-4BAB-9A7B-662C53D98EA8}"/>
              </a:ext>
            </a:extLst>
          </p:cNvPr>
          <p:cNvSpPr txBox="1"/>
          <p:nvPr/>
        </p:nvSpPr>
        <p:spPr>
          <a:xfrm>
            <a:off x="4047489" y="5230928"/>
            <a:ext cx="1520575" cy="954107"/>
          </a:xfrm>
          <a:prstGeom prst="rect">
            <a:avLst/>
          </a:prstGeom>
          <a:noFill/>
        </p:spPr>
        <p:txBody>
          <a:bodyPr wrap="square" rtlCol="0">
            <a:spAutoFit/>
          </a:bodyPr>
          <a:lstStyle/>
          <a:p>
            <a:r>
              <a:rPr lang="en-US" sz="1400" dirty="0"/>
              <a:t>scalable analytics integrations through partnerships</a:t>
            </a:r>
          </a:p>
        </p:txBody>
      </p:sp>
      <p:cxnSp>
        <p:nvCxnSpPr>
          <p:cNvPr id="57" name="Straight Connector 56">
            <a:extLst>
              <a:ext uri="{FF2B5EF4-FFF2-40B4-BE49-F238E27FC236}">
                <a16:creationId xmlns:a16="http://schemas.microsoft.com/office/drawing/2014/main" id="{40673FE9-9E97-4790-A871-ED7DCCBC270D}"/>
              </a:ext>
            </a:extLst>
          </p:cNvPr>
          <p:cNvCxnSpPr>
            <a:cxnSpLocks/>
          </p:cNvCxnSpPr>
          <p:nvPr/>
        </p:nvCxnSpPr>
        <p:spPr>
          <a:xfrm>
            <a:off x="6113850" y="4945702"/>
            <a:ext cx="5826" cy="400063"/>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5DD212E5-FE50-420F-B16A-011D1D4F9CCA}"/>
              </a:ext>
            </a:extLst>
          </p:cNvPr>
          <p:cNvSpPr txBox="1"/>
          <p:nvPr/>
        </p:nvSpPr>
        <p:spPr>
          <a:xfrm>
            <a:off x="5573840" y="5446371"/>
            <a:ext cx="1520575" cy="738664"/>
          </a:xfrm>
          <a:prstGeom prst="rect">
            <a:avLst/>
          </a:prstGeom>
          <a:noFill/>
        </p:spPr>
        <p:txBody>
          <a:bodyPr wrap="square" rtlCol="0">
            <a:spAutoFit/>
          </a:bodyPr>
          <a:lstStyle/>
          <a:p>
            <a:r>
              <a:rPr lang="en-US" sz="1400" dirty="0"/>
              <a:t>Invoke external asset service models</a:t>
            </a:r>
          </a:p>
        </p:txBody>
      </p:sp>
      <p:sp>
        <p:nvSpPr>
          <p:cNvPr id="61" name="TextBox 60">
            <a:extLst>
              <a:ext uri="{FF2B5EF4-FFF2-40B4-BE49-F238E27FC236}">
                <a16:creationId xmlns:a16="http://schemas.microsoft.com/office/drawing/2014/main" id="{908A9DF3-92A2-4BFD-A413-1458A7248FBC}"/>
              </a:ext>
            </a:extLst>
          </p:cNvPr>
          <p:cNvSpPr txBox="1"/>
          <p:nvPr/>
        </p:nvSpPr>
        <p:spPr>
          <a:xfrm>
            <a:off x="3908578" y="1855843"/>
            <a:ext cx="3295143" cy="307777"/>
          </a:xfrm>
          <a:prstGeom prst="rect">
            <a:avLst/>
          </a:prstGeom>
          <a:noFill/>
        </p:spPr>
        <p:txBody>
          <a:bodyPr wrap="square" rtlCol="0">
            <a:spAutoFit/>
          </a:bodyPr>
          <a:lstStyle/>
          <a:p>
            <a:r>
              <a:rPr lang="en-US" sz="1400" b="1" dirty="0"/>
              <a:t>Kognitwin® Industrial Work Surface</a:t>
            </a:r>
          </a:p>
        </p:txBody>
      </p:sp>
      <p:sp>
        <p:nvSpPr>
          <p:cNvPr id="62" name="TextBox 61">
            <a:extLst>
              <a:ext uri="{FF2B5EF4-FFF2-40B4-BE49-F238E27FC236}">
                <a16:creationId xmlns:a16="http://schemas.microsoft.com/office/drawing/2014/main" id="{40D18925-98CD-4089-BE50-5ADE69977AAA}"/>
              </a:ext>
            </a:extLst>
          </p:cNvPr>
          <p:cNvSpPr txBox="1"/>
          <p:nvPr/>
        </p:nvSpPr>
        <p:spPr>
          <a:xfrm>
            <a:off x="420373" y="1855843"/>
            <a:ext cx="3862249" cy="307777"/>
          </a:xfrm>
          <a:prstGeom prst="rect">
            <a:avLst/>
          </a:prstGeom>
          <a:noFill/>
        </p:spPr>
        <p:txBody>
          <a:bodyPr wrap="square" rtlCol="0">
            <a:spAutoFit/>
          </a:bodyPr>
          <a:lstStyle/>
          <a:p>
            <a:r>
              <a:rPr lang="en-US" sz="1400" b="1" dirty="0"/>
              <a:t>Key Areas of Focus</a:t>
            </a:r>
          </a:p>
        </p:txBody>
      </p:sp>
      <p:sp>
        <p:nvSpPr>
          <p:cNvPr id="63" name="Rectangle 62">
            <a:extLst>
              <a:ext uri="{FF2B5EF4-FFF2-40B4-BE49-F238E27FC236}">
                <a16:creationId xmlns:a16="http://schemas.microsoft.com/office/drawing/2014/main" id="{1CF9D1FC-EB9D-49B3-BFB6-C5B0B1C61B2C}"/>
              </a:ext>
            </a:extLst>
          </p:cNvPr>
          <p:cNvSpPr/>
          <p:nvPr/>
        </p:nvSpPr>
        <p:spPr>
          <a:xfrm>
            <a:off x="3964415" y="2163620"/>
            <a:ext cx="8106895" cy="4124738"/>
          </a:xfrm>
          <a:prstGeom prst="rect">
            <a:avLst/>
          </a:prstGeom>
          <a:noFill/>
          <a:ln w="63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algn="ctr" defTabSz="228611"/>
            <a:endParaRPr lang="en-US" sz="3200" dirty="0">
              <a:solidFill>
                <a:prstClr val="white"/>
              </a:solidFill>
              <a:latin typeface="Calibri Light"/>
            </a:endParaRPr>
          </a:p>
        </p:txBody>
      </p:sp>
      <p:sp>
        <p:nvSpPr>
          <p:cNvPr id="64" name="Rectangle 63">
            <a:extLst>
              <a:ext uri="{FF2B5EF4-FFF2-40B4-BE49-F238E27FC236}">
                <a16:creationId xmlns:a16="http://schemas.microsoft.com/office/drawing/2014/main" id="{3B9B03AE-C3E7-4D7D-9C55-E6B53FFEABD5}"/>
              </a:ext>
            </a:extLst>
          </p:cNvPr>
          <p:cNvSpPr/>
          <p:nvPr/>
        </p:nvSpPr>
        <p:spPr>
          <a:xfrm>
            <a:off x="214671" y="2163620"/>
            <a:ext cx="3450350" cy="4124738"/>
          </a:xfrm>
          <a:prstGeom prst="rect">
            <a:avLst/>
          </a:prstGeom>
          <a:noFill/>
          <a:ln w="63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ctr" anchorCtr="0" forceAA="0" compatLnSpc="1">
            <a:prstTxWarp prst="textNoShape">
              <a:avLst/>
            </a:prstTxWarp>
            <a:noAutofit/>
          </a:bodyPr>
          <a:lstStyle/>
          <a:p>
            <a:pPr algn="ctr" defTabSz="228611"/>
            <a:endParaRPr lang="en-US" sz="3200" dirty="0">
              <a:solidFill>
                <a:prstClr val="white"/>
              </a:solidFill>
              <a:latin typeface="Calibri Light"/>
            </a:endParaRPr>
          </a:p>
        </p:txBody>
      </p:sp>
      <p:cxnSp>
        <p:nvCxnSpPr>
          <p:cNvPr id="66" name="Straight Connector 65">
            <a:extLst>
              <a:ext uri="{FF2B5EF4-FFF2-40B4-BE49-F238E27FC236}">
                <a16:creationId xmlns:a16="http://schemas.microsoft.com/office/drawing/2014/main" id="{B44DFCB9-82B9-44DC-B26B-96B24F20E4E0}"/>
              </a:ext>
            </a:extLst>
          </p:cNvPr>
          <p:cNvCxnSpPr>
            <a:cxnSpLocks/>
          </p:cNvCxnSpPr>
          <p:nvPr/>
        </p:nvCxnSpPr>
        <p:spPr>
          <a:xfrm flipV="1">
            <a:off x="420373" y="4684173"/>
            <a:ext cx="3140917" cy="2865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pic>
        <p:nvPicPr>
          <p:cNvPr id="67" name="Picture 66">
            <a:extLst>
              <a:ext uri="{FF2B5EF4-FFF2-40B4-BE49-F238E27FC236}">
                <a16:creationId xmlns:a16="http://schemas.microsoft.com/office/drawing/2014/main" id="{6F8E50CE-93CD-4DF8-BDFF-B45AAFAEB66B}"/>
              </a:ext>
            </a:extLst>
          </p:cNvPr>
          <p:cNvPicPr>
            <a:picLocks noChangeAspect="1"/>
          </p:cNvPicPr>
          <p:nvPr/>
        </p:nvPicPr>
        <p:blipFill rotWithShape="1">
          <a:blip r:embed="rId11"/>
          <a:srcRect t="24279" r="50533" b="20932"/>
          <a:stretch/>
        </p:blipFill>
        <p:spPr>
          <a:xfrm>
            <a:off x="502889" y="5065441"/>
            <a:ext cx="1103749" cy="687662"/>
          </a:xfrm>
          <a:prstGeom prst="rect">
            <a:avLst/>
          </a:prstGeom>
          <a:ln w="28575">
            <a:noFill/>
          </a:ln>
        </p:spPr>
      </p:pic>
      <p:pic>
        <p:nvPicPr>
          <p:cNvPr id="68" name="Picture 67">
            <a:extLst>
              <a:ext uri="{FF2B5EF4-FFF2-40B4-BE49-F238E27FC236}">
                <a16:creationId xmlns:a16="http://schemas.microsoft.com/office/drawing/2014/main" id="{B88046A7-8E67-4A23-9F8E-CC9A411035D5}"/>
              </a:ext>
            </a:extLst>
          </p:cNvPr>
          <p:cNvPicPr>
            <a:picLocks noChangeAspect="1"/>
          </p:cNvPicPr>
          <p:nvPr/>
        </p:nvPicPr>
        <p:blipFill>
          <a:blip r:embed="rId12"/>
          <a:stretch>
            <a:fillRect/>
          </a:stretch>
        </p:blipFill>
        <p:spPr>
          <a:xfrm>
            <a:off x="1812366" y="5023247"/>
            <a:ext cx="1588380" cy="776222"/>
          </a:xfrm>
          <a:prstGeom prst="rect">
            <a:avLst/>
          </a:prstGeom>
        </p:spPr>
      </p:pic>
      <p:cxnSp>
        <p:nvCxnSpPr>
          <p:cNvPr id="72" name="Straight Connector 71">
            <a:extLst>
              <a:ext uri="{FF2B5EF4-FFF2-40B4-BE49-F238E27FC236}">
                <a16:creationId xmlns:a16="http://schemas.microsoft.com/office/drawing/2014/main" id="{DB929C36-AC1C-491C-9943-A9BAF96D47D6}"/>
              </a:ext>
            </a:extLst>
          </p:cNvPr>
          <p:cNvCxnSpPr>
            <a:cxnSpLocks/>
          </p:cNvCxnSpPr>
          <p:nvPr/>
        </p:nvCxnSpPr>
        <p:spPr>
          <a:xfrm flipV="1">
            <a:off x="6925202" y="2644450"/>
            <a:ext cx="2600787" cy="11303"/>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70465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CAD5C025-E2D2-4AA4-BA2A-29EB05636281}"/>
              </a:ext>
            </a:extLst>
          </p:cNvPr>
          <p:cNvSpPr/>
          <p:nvPr/>
        </p:nvSpPr>
        <p:spPr>
          <a:xfrm>
            <a:off x="188330" y="2337576"/>
            <a:ext cx="3629972" cy="2948658"/>
          </a:xfrm>
          <a:prstGeom prst="rect">
            <a:avLst/>
          </a:prstGeom>
          <a:noFill/>
          <a:ln w="63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US" sz="1400" b="1" i="1" dirty="0">
              <a:solidFill>
                <a:schemeClr val="tx1"/>
              </a:solidFill>
            </a:endParaRPr>
          </a:p>
          <a:p>
            <a:pPr marL="285750" indent="-285750">
              <a:buFont typeface="Arial" panose="020B0604020202020204" pitchFamily="34" charset="0"/>
              <a:buChar char="•"/>
            </a:pPr>
            <a:endParaRPr lang="en-US" sz="1400" b="1" i="1" dirty="0">
              <a:solidFill>
                <a:schemeClr val="tx1"/>
              </a:solidFill>
            </a:endParaRPr>
          </a:p>
        </p:txBody>
      </p:sp>
      <p:sp>
        <p:nvSpPr>
          <p:cNvPr id="18" name="Rectangle 17">
            <a:extLst>
              <a:ext uri="{FF2B5EF4-FFF2-40B4-BE49-F238E27FC236}">
                <a16:creationId xmlns:a16="http://schemas.microsoft.com/office/drawing/2014/main" id="{811D0A65-B881-4043-A4DD-900CA835CB38}"/>
              </a:ext>
            </a:extLst>
          </p:cNvPr>
          <p:cNvSpPr/>
          <p:nvPr/>
        </p:nvSpPr>
        <p:spPr>
          <a:xfrm>
            <a:off x="7420851" y="2337575"/>
            <a:ext cx="4363612" cy="3016745"/>
          </a:xfrm>
          <a:prstGeom prst="rect">
            <a:avLst/>
          </a:prstGeom>
          <a:noFill/>
          <a:ln w="6350">
            <a:solidFill>
              <a:schemeClr val="accent2"/>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US" sz="1400" b="1" i="1" dirty="0">
              <a:solidFill>
                <a:schemeClr val="tx1"/>
              </a:solidFill>
            </a:endParaRPr>
          </a:p>
          <a:p>
            <a:pPr marL="285750" indent="-285750">
              <a:buFont typeface="Arial" panose="020B0604020202020204" pitchFamily="34" charset="0"/>
              <a:buChar char="•"/>
            </a:pPr>
            <a:endParaRPr lang="en-US" sz="1400" b="1" i="1" dirty="0">
              <a:solidFill>
                <a:schemeClr val="tx1"/>
              </a:solidFill>
            </a:endParaRPr>
          </a:p>
        </p:txBody>
      </p:sp>
      <p:sp>
        <p:nvSpPr>
          <p:cNvPr id="2" name="Title 1">
            <a:extLst>
              <a:ext uri="{FF2B5EF4-FFF2-40B4-BE49-F238E27FC236}">
                <a16:creationId xmlns:a16="http://schemas.microsoft.com/office/drawing/2014/main" id="{B052A469-174A-4F9D-80B0-FDB31ED9CC24}"/>
              </a:ext>
            </a:extLst>
          </p:cNvPr>
          <p:cNvSpPr>
            <a:spLocks noGrp="1"/>
          </p:cNvSpPr>
          <p:nvPr>
            <p:ph type="title"/>
          </p:nvPr>
        </p:nvSpPr>
        <p:spPr>
          <a:xfrm>
            <a:off x="2034805" y="691698"/>
            <a:ext cx="8106895" cy="1339213"/>
          </a:xfrm>
        </p:spPr>
        <p:txBody>
          <a:bodyPr/>
          <a:lstStyle/>
          <a:p>
            <a:r>
              <a:rPr lang="en-US" dirty="0"/>
              <a:t>Introduction of the digital twin as the industrial work surfaces yields results</a:t>
            </a:r>
            <a:br>
              <a:rPr lang="en-US" dirty="0"/>
            </a:br>
            <a:endParaRPr lang="en-US" dirty="0"/>
          </a:p>
        </p:txBody>
      </p:sp>
      <p:sp>
        <p:nvSpPr>
          <p:cNvPr id="5" name="Slide Number Placeholder 4">
            <a:extLst>
              <a:ext uri="{FF2B5EF4-FFF2-40B4-BE49-F238E27FC236}">
                <a16:creationId xmlns:a16="http://schemas.microsoft.com/office/drawing/2014/main" id="{1C708C62-4154-4462-A638-FB3F83FB5843}"/>
              </a:ext>
            </a:extLst>
          </p:cNvPr>
          <p:cNvSpPr>
            <a:spLocks noGrp="1"/>
          </p:cNvSpPr>
          <p:nvPr>
            <p:ph type="sldNum" sz="quarter" idx="18"/>
          </p:nvPr>
        </p:nvSpPr>
        <p:spPr/>
        <p:txBody>
          <a:bodyPr/>
          <a:lstStyle/>
          <a:p>
            <a:fld id="{7A3F00B2-786C-401B-9EB3-42A9D0DD4A9F}" type="slidenum">
              <a:rPr lang="nb-NO" smtClean="0"/>
              <a:pPr/>
              <a:t>18</a:t>
            </a:fld>
            <a:endParaRPr lang="nb-NO"/>
          </a:p>
        </p:txBody>
      </p:sp>
      <p:sp>
        <p:nvSpPr>
          <p:cNvPr id="6" name="Rectangle 5">
            <a:extLst>
              <a:ext uri="{FF2B5EF4-FFF2-40B4-BE49-F238E27FC236}">
                <a16:creationId xmlns:a16="http://schemas.microsoft.com/office/drawing/2014/main" id="{D9AEB981-D171-4904-B70C-336999E26509}"/>
              </a:ext>
            </a:extLst>
          </p:cNvPr>
          <p:cNvSpPr/>
          <p:nvPr/>
        </p:nvSpPr>
        <p:spPr>
          <a:xfrm>
            <a:off x="1004464" y="2514295"/>
            <a:ext cx="3809138" cy="5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accent1"/>
                </a:solidFill>
              </a:rPr>
              <a:t>Production and Energy Efficiency</a:t>
            </a:r>
          </a:p>
        </p:txBody>
      </p:sp>
      <p:sp>
        <p:nvSpPr>
          <p:cNvPr id="7" name="TextBox 6">
            <a:extLst>
              <a:ext uri="{FF2B5EF4-FFF2-40B4-BE49-F238E27FC236}">
                <a16:creationId xmlns:a16="http://schemas.microsoft.com/office/drawing/2014/main" id="{F0C8D426-0F7C-4377-9D57-E87DC2699782}"/>
              </a:ext>
            </a:extLst>
          </p:cNvPr>
          <p:cNvSpPr txBox="1"/>
          <p:nvPr/>
        </p:nvSpPr>
        <p:spPr>
          <a:xfrm>
            <a:off x="167855" y="1962693"/>
            <a:ext cx="4356243" cy="307777"/>
          </a:xfrm>
          <a:prstGeom prst="rect">
            <a:avLst/>
          </a:prstGeom>
          <a:noFill/>
        </p:spPr>
        <p:txBody>
          <a:bodyPr wrap="square">
            <a:spAutoFit/>
          </a:bodyPr>
          <a:lstStyle>
            <a:defPPr>
              <a:defRPr lang="en-US"/>
            </a:defPPr>
            <a:lvl1pPr>
              <a:defRPr sz="1400" b="1"/>
            </a:lvl1pPr>
          </a:lstStyle>
          <a:p>
            <a:r>
              <a:rPr lang="en-US" dirty="0"/>
              <a:t>Improvement Areas</a:t>
            </a:r>
          </a:p>
        </p:txBody>
      </p:sp>
      <p:sp>
        <p:nvSpPr>
          <p:cNvPr id="8" name="Rectangle 7">
            <a:extLst>
              <a:ext uri="{FF2B5EF4-FFF2-40B4-BE49-F238E27FC236}">
                <a16:creationId xmlns:a16="http://schemas.microsoft.com/office/drawing/2014/main" id="{D8CCE831-B022-47AB-AEE0-C91664DF7A11}"/>
              </a:ext>
            </a:extLst>
          </p:cNvPr>
          <p:cNvSpPr/>
          <p:nvPr/>
        </p:nvSpPr>
        <p:spPr>
          <a:xfrm>
            <a:off x="1004464" y="3151028"/>
            <a:ext cx="3809138" cy="5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accent1"/>
                </a:solidFill>
              </a:rPr>
              <a:t>Maintenance Planning &amp; </a:t>
            </a:r>
            <a:br>
              <a:rPr lang="en-US" sz="1400" dirty="0">
                <a:solidFill>
                  <a:schemeClr val="accent1"/>
                </a:solidFill>
              </a:rPr>
            </a:br>
            <a:r>
              <a:rPr lang="en-US" sz="1400" dirty="0">
                <a:solidFill>
                  <a:schemeClr val="accent1"/>
                </a:solidFill>
              </a:rPr>
              <a:t>Execution</a:t>
            </a:r>
          </a:p>
        </p:txBody>
      </p:sp>
      <p:sp>
        <p:nvSpPr>
          <p:cNvPr id="9" name="Rectangle 8">
            <a:extLst>
              <a:ext uri="{FF2B5EF4-FFF2-40B4-BE49-F238E27FC236}">
                <a16:creationId xmlns:a16="http://schemas.microsoft.com/office/drawing/2014/main" id="{0D112B9C-7145-4CFB-AA41-45FC91DDB97D}"/>
              </a:ext>
            </a:extLst>
          </p:cNvPr>
          <p:cNvSpPr/>
          <p:nvPr/>
        </p:nvSpPr>
        <p:spPr>
          <a:xfrm>
            <a:off x="1004464" y="3787761"/>
            <a:ext cx="3809138" cy="5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accent1"/>
                </a:solidFill>
              </a:rPr>
              <a:t>End-to-end optimization</a:t>
            </a:r>
          </a:p>
        </p:txBody>
      </p:sp>
      <p:sp>
        <p:nvSpPr>
          <p:cNvPr id="10" name="Rectangle 9">
            <a:extLst>
              <a:ext uri="{FF2B5EF4-FFF2-40B4-BE49-F238E27FC236}">
                <a16:creationId xmlns:a16="http://schemas.microsoft.com/office/drawing/2014/main" id="{B513885C-34BA-4DDC-A140-E2DFADB48BDA}"/>
              </a:ext>
            </a:extLst>
          </p:cNvPr>
          <p:cNvSpPr/>
          <p:nvPr/>
        </p:nvSpPr>
        <p:spPr>
          <a:xfrm>
            <a:off x="1004464" y="4424494"/>
            <a:ext cx="3809138" cy="5348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accent1"/>
                </a:solidFill>
              </a:rPr>
              <a:t>Data-driven ways of working</a:t>
            </a:r>
          </a:p>
        </p:txBody>
      </p:sp>
      <p:sp>
        <p:nvSpPr>
          <p:cNvPr id="20" name="TextBox 19">
            <a:extLst>
              <a:ext uri="{FF2B5EF4-FFF2-40B4-BE49-F238E27FC236}">
                <a16:creationId xmlns:a16="http://schemas.microsoft.com/office/drawing/2014/main" id="{1FCF4DE4-4104-4914-B828-7C26FC9AE90F}"/>
              </a:ext>
            </a:extLst>
          </p:cNvPr>
          <p:cNvSpPr txBox="1"/>
          <p:nvPr/>
        </p:nvSpPr>
        <p:spPr>
          <a:xfrm>
            <a:off x="558396" y="6520099"/>
            <a:ext cx="4517038" cy="246221"/>
          </a:xfrm>
          <a:prstGeom prst="rect">
            <a:avLst/>
          </a:prstGeom>
          <a:noFill/>
        </p:spPr>
        <p:txBody>
          <a:bodyPr wrap="square" rtlCol="0">
            <a:spAutoFit/>
          </a:bodyPr>
          <a:lstStyle/>
          <a:p>
            <a:r>
              <a:rPr lang="en-US" sz="1000" dirty="0">
                <a:solidFill>
                  <a:schemeClr val="bg2">
                    <a:lumMod val="50000"/>
                  </a:schemeClr>
                </a:solidFill>
              </a:rPr>
              <a:t>Sources: KONGSBERG internal research, McKinsey &amp; Company, customer interviews</a:t>
            </a:r>
          </a:p>
        </p:txBody>
      </p:sp>
      <p:sp>
        <p:nvSpPr>
          <p:cNvPr id="21" name="TextBox 20">
            <a:extLst>
              <a:ext uri="{FF2B5EF4-FFF2-40B4-BE49-F238E27FC236}">
                <a16:creationId xmlns:a16="http://schemas.microsoft.com/office/drawing/2014/main" id="{A28184FA-3E1C-4D40-9F69-3E857FFB9218}"/>
              </a:ext>
            </a:extLst>
          </p:cNvPr>
          <p:cNvSpPr txBox="1"/>
          <p:nvPr/>
        </p:nvSpPr>
        <p:spPr>
          <a:xfrm>
            <a:off x="7325360" y="1995548"/>
            <a:ext cx="6096000" cy="307777"/>
          </a:xfrm>
          <a:prstGeom prst="rect">
            <a:avLst/>
          </a:prstGeom>
          <a:noFill/>
        </p:spPr>
        <p:txBody>
          <a:bodyPr wrap="square">
            <a:spAutoFit/>
          </a:bodyPr>
          <a:lstStyle/>
          <a:p>
            <a:r>
              <a:rPr lang="en-US" sz="1400" b="1" dirty="0">
                <a:solidFill>
                  <a:schemeClr val="tx1"/>
                </a:solidFill>
              </a:rPr>
              <a:t>Material OPEX gains</a:t>
            </a:r>
          </a:p>
        </p:txBody>
      </p:sp>
      <p:sp>
        <p:nvSpPr>
          <p:cNvPr id="24" name="TextBox 23">
            <a:extLst>
              <a:ext uri="{FF2B5EF4-FFF2-40B4-BE49-F238E27FC236}">
                <a16:creationId xmlns:a16="http://schemas.microsoft.com/office/drawing/2014/main" id="{08736276-83B4-4E67-9809-0F2DB0110DA0}"/>
              </a:ext>
            </a:extLst>
          </p:cNvPr>
          <p:cNvSpPr txBox="1"/>
          <p:nvPr/>
        </p:nvSpPr>
        <p:spPr>
          <a:xfrm>
            <a:off x="8649128" y="2742338"/>
            <a:ext cx="3288108" cy="523220"/>
          </a:xfrm>
          <a:prstGeom prst="rect">
            <a:avLst/>
          </a:prstGeom>
          <a:noFill/>
        </p:spPr>
        <p:txBody>
          <a:bodyPr wrap="square">
            <a:spAutoFit/>
          </a:bodyPr>
          <a:lstStyle>
            <a:defPPr>
              <a:defRPr lang="en-US"/>
            </a:defPPr>
            <a:lvl1pPr>
              <a:defRPr sz="1400" b="1" i="1"/>
            </a:lvl1pPr>
          </a:lstStyle>
          <a:p>
            <a:r>
              <a:rPr lang="en-US" b="0" i="0" dirty="0"/>
              <a:t>worker hours reduced (up to 30k on complex upstream setups)</a:t>
            </a:r>
          </a:p>
        </p:txBody>
      </p:sp>
      <p:sp>
        <p:nvSpPr>
          <p:cNvPr id="25" name="TextBox 24">
            <a:extLst>
              <a:ext uri="{FF2B5EF4-FFF2-40B4-BE49-F238E27FC236}">
                <a16:creationId xmlns:a16="http://schemas.microsoft.com/office/drawing/2014/main" id="{CA81238F-3AB3-4F6D-99D4-9448927EE97C}"/>
              </a:ext>
            </a:extLst>
          </p:cNvPr>
          <p:cNvSpPr txBox="1"/>
          <p:nvPr/>
        </p:nvSpPr>
        <p:spPr>
          <a:xfrm>
            <a:off x="8649128" y="3342857"/>
            <a:ext cx="3288108" cy="307777"/>
          </a:xfrm>
          <a:prstGeom prst="rect">
            <a:avLst/>
          </a:prstGeom>
          <a:noFill/>
        </p:spPr>
        <p:txBody>
          <a:bodyPr wrap="square">
            <a:spAutoFit/>
          </a:bodyPr>
          <a:lstStyle>
            <a:defPPr>
              <a:defRPr lang="en-US"/>
            </a:defPPr>
            <a:lvl1pPr>
              <a:defRPr sz="1400" b="1" i="1"/>
            </a:lvl1pPr>
          </a:lstStyle>
          <a:p>
            <a:r>
              <a:rPr lang="en-US" sz="1400" b="0" i="0" dirty="0">
                <a:solidFill>
                  <a:schemeClr val="tx1"/>
                </a:solidFill>
              </a:rPr>
              <a:t>Up to 2% O&amp;M spend savings</a:t>
            </a:r>
          </a:p>
        </p:txBody>
      </p:sp>
      <p:sp>
        <p:nvSpPr>
          <p:cNvPr id="28" name="TextBox 27">
            <a:extLst>
              <a:ext uri="{FF2B5EF4-FFF2-40B4-BE49-F238E27FC236}">
                <a16:creationId xmlns:a16="http://schemas.microsoft.com/office/drawing/2014/main" id="{B2CEDFDF-6217-438F-8913-3C53838AEC6C}"/>
              </a:ext>
            </a:extLst>
          </p:cNvPr>
          <p:cNvSpPr txBox="1"/>
          <p:nvPr/>
        </p:nvSpPr>
        <p:spPr>
          <a:xfrm>
            <a:off x="8660745" y="3805233"/>
            <a:ext cx="3288108" cy="307777"/>
          </a:xfrm>
          <a:prstGeom prst="rect">
            <a:avLst/>
          </a:prstGeom>
          <a:noFill/>
        </p:spPr>
        <p:txBody>
          <a:bodyPr wrap="square">
            <a:spAutoFit/>
          </a:bodyPr>
          <a:lstStyle>
            <a:defPPr>
              <a:defRPr lang="en-US"/>
            </a:defPPr>
            <a:lvl1pPr>
              <a:defRPr sz="1400" b="1" i="1"/>
            </a:lvl1pPr>
          </a:lstStyle>
          <a:p>
            <a:r>
              <a:rPr lang="en-US" sz="1400" b="0" i="0" dirty="0">
                <a:solidFill>
                  <a:schemeClr val="tx1"/>
                </a:solidFill>
              </a:rPr>
              <a:t>Up to 0.3% production increase</a:t>
            </a:r>
          </a:p>
        </p:txBody>
      </p:sp>
      <p:sp>
        <p:nvSpPr>
          <p:cNvPr id="29" name="TextBox 28">
            <a:extLst>
              <a:ext uri="{FF2B5EF4-FFF2-40B4-BE49-F238E27FC236}">
                <a16:creationId xmlns:a16="http://schemas.microsoft.com/office/drawing/2014/main" id="{9A40222C-4278-4681-AC46-5681FD66541B}"/>
              </a:ext>
            </a:extLst>
          </p:cNvPr>
          <p:cNvSpPr txBox="1"/>
          <p:nvPr/>
        </p:nvSpPr>
        <p:spPr>
          <a:xfrm>
            <a:off x="8649128" y="4267609"/>
            <a:ext cx="3288108" cy="307777"/>
          </a:xfrm>
          <a:prstGeom prst="rect">
            <a:avLst/>
          </a:prstGeom>
          <a:noFill/>
        </p:spPr>
        <p:txBody>
          <a:bodyPr wrap="square">
            <a:spAutoFit/>
          </a:bodyPr>
          <a:lstStyle>
            <a:defPPr>
              <a:defRPr lang="en-US"/>
            </a:defPPr>
            <a:lvl1pPr>
              <a:defRPr sz="1400" b="1" i="1"/>
            </a:lvl1pPr>
          </a:lstStyle>
          <a:p>
            <a:r>
              <a:rPr lang="en-US" sz="1400" b="0" i="0" dirty="0">
                <a:solidFill>
                  <a:schemeClr val="tx1"/>
                </a:solidFill>
              </a:rPr>
              <a:t>1-1.5% energy consumption reduction</a:t>
            </a:r>
          </a:p>
        </p:txBody>
      </p:sp>
      <p:sp>
        <p:nvSpPr>
          <p:cNvPr id="30" name="Oval 29">
            <a:extLst>
              <a:ext uri="{FF2B5EF4-FFF2-40B4-BE49-F238E27FC236}">
                <a16:creationId xmlns:a16="http://schemas.microsoft.com/office/drawing/2014/main" id="{0CA3156B-181A-44D9-89BF-4AD915690BBF}"/>
              </a:ext>
            </a:extLst>
          </p:cNvPr>
          <p:cNvSpPr/>
          <p:nvPr/>
        </p:nvSpPr>
        <p:spPr>
          <a:xfrm>
            <a:off x="7792542" y="2801978"/>
            <a:ext cx="807862" cy="36494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25k</a:t>
            </a:r>
          </a:p>
        </p:txBody>
      </p:sp>
      <p:sp>
        <p:nvSpPr>
          <p:cNvPr id="31" name="Oval 30">
            <a:extLst>
              <a:ext uri="{FF2B5EF4-FFF2-40B4-BE49-F238E27FC236}">
                <a16:creationId xmlns:a16="http://schemas.microsoft.com/office/drawing/2014/main" id="{85DED9A8-E593-4942-A193-21E99C92E2FF}"/>
              </a:ext>
            </a:extLst>
          </p:cNvPr>
          <p:cNvSpPr/>
          <p:nvPr/>
        </p:nvSpPr>
        <p:spPr>
          <a:xfrm>
            <a:off x="7792542" y="3302497"/>
            <a:ext cx="807862" cy="36494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2%</a:t>
            </a:r>
          </a:p>
        </p:txBody>
      </p:sp>
      <p:sp>
        <p:nvSpPr>
          <p:cNvPr id="32" name="Oval 31">
            <a:extLst>
              <a:ext uri="{FF2B5EF4-FFF2-40B4-BE49-F238E27FC236}">
                <a16:creationId xmlns:a16="http://schemas.microsoft.com/office/drawing/2014/main" id="{E1786414-54F2-45E3-AD84-CBDC025D73BD}"/>
              </a:ext>
            </a:extLst>
          </p:cNvPr>
          <p:cNvSpPr/>
          <p:nvPr/>
        </p:nvSpPr>
        <p:spPr>
          <a:xfrm>
            <a:off x="7792542" y="3776650"/>
            <a:ext cx="807862" cy="36494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0.3%</a:t>
            </a:r>
          </a:p>
        </p:txBody>
      </p:sp>
      <p:sp>
        <p:nvSpPr>
          <p:cNvPr id="33" name="Oval 32">
            <a:extLst>
              <a:ext uri="{FF2B5EF4-FFF2-40B4-BE49-F238E27FC236}">
                <a16:creationId xmlns:a16="http://schemas.microsoft.com/office/drawing/2014/main" id="{096B49E5-56D4-46F8-B68E-BC5AAD1D28C8}"/>
              </a:ext>
            </a:extLst>
          </p:cNvPr>
          <p:cNvSpPr/>
          <p:nvPr/>
        </p:nvSpPr>
        <p:spPr>
          <a:xfrm>
            <a:off x="7792542" y="4232272"/>
            <a:ext cx="807862" cy="36494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1.5%</a:t>
            </a:r>
          </a:p>
        </p:txBody>
      </p:sp>
      <p:pic>
        <p:nvPicPr>
          <p:cNvPr id="34" name="Picture 33">
            <a:extLst>
              <a:ext uri="{FF2B5EF4-FFF2-40B4-BE49-F238E27FC236}">
                <a16:creationId xmlns:a16="http://schemas.microsoft.com/office/drawing/2014/main" id="{7B8ABCC9-F95A-4E5C-92B6-DECA70EF6D0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6713" y="3787761"/>
            <a:ext cx="436337" cy="436337"/>
          </a:xfrm>
          <a:prstGeom prst="rect">
            <a:avLst/>
          </a:prstGeom>
        </p:spPr>
      </p:pic>
      <p:pic>
        <p:nvPicPr>
          <p:cNvPr id="36" name="Picture 35">
            <a:extLst>
              <a:ext uri="{FF2B5EF4-FFF2-40B4-BE49-F238E27FC236}">
                <a16:creationId xmlns:a16="http://schemas.microsoft.com/office/drawing/2014/main" id="{CCFD0218-B876-4552-9C23-AC626854408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1797" y="3166920"/>
            <a:ext cx="366169" cy="366169"/>
          </a:xfrm>
          <a:prstGeom prst="rect">
            <a:avLst/>
          </a:prstGeom>
        </p:spPr>
      </p:pic>
      <p:pic>
        <p:nvPicPr>
          <p:cNvPr id="37" name="Picture 36">
            <a:extLst>
              <a:ext uri="{FF2B5EF4-FFF2-40B4-BE49-F238E27FC236}">
                <a16:creationId xmlns:a16="http://schemas.microsoft.com/office/drawing/2014/main" id="{18AD3CEF-22B9-40D0-98AF-7DFF7D4B10F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0992" y="2632595"/>
            <a:ext cx="307778" cy="307778"/>
          </a:xfrm>
          <a:prstGeom prst="rect">
            <a:avLst/>
          </a:prstGeom>
        </p:spPr>
      </p:pic>
      <p:pic>
        <p:nvPicPr>
          <p:cNvPr id="38" name="Picture 37">
            <a:extLst>
              <a:ext uri="{FF2B5EF4-FFF2-40B4-BE49-F238E27FC236}">
                <a16:creationId xmlns:a16="http://schemas.microsoft.com/office/drawing/2014/main" id="{82AF08F5-B7C0-48B0-9317-1FDA1D403B9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0297" y="4543564"/>
            <a:ext cx="389168" cy="389168"/>
          </a:xfrm>
          <a:prstGeom prst="rect">
            <a:avLst/>
          </a:prstGeom>
        </p:spPr>
      </p:pic>
      <p:sp>
        <p:nvSpPr>
          <p:cNvPr id="40" name="Oval 39">
            <a:extLst>
              <a:ext uri="{FF2B5EF4-FFF2-40B4-BE49-F238E27FC236}">
                <a16:creationId xmlns:a16="http://schemas.microsoft.com/office/drawing/2014/main" id="{CDFC6121-BE51-466F-99C6-BBE47A7465C2}"/>
              </a:ext>
            </a:extLst>
          </p:cNvPr>
          <p:cNvSpPr/>
          <p:nvPr/>
        </p:nvSpPr>
        <p:spPr>
          <a:xfrm>
            <a:off x="7792542" y="4719725"/>
            <a:ext cx="807862" cy="36494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3M</a:t>
            </a:r>
          </a:p>
        </p:txBody>
      </p:sp>
      <p:sp>
        <p:nvSpPr>
          <p:cNvPr id="41" name="TextBox 40">
            <a:extLst>
              <a:ext uri="{FF2B5EF4-FFF2-40B4-BE49-F238E27FC236}">
                <a16:creationId xmlns:a16="http://schemas.microsoft.com/office/drawing/2014/main" id="{50849ADA-4972-48A6-85B0-5DE121F0177A}"/>
              </a:ext>
            </a:extLst>
          </p:cNvPr>
          <p:cNvSpPr txBox="1"/>
          <p:nvPr/>
        </p:nvSpPr>
        <p:spPr>
          <a:xfrm>
            <a:off x="8649128" y="4697686"/>
            <a:ext cx="3288108" cy="523220"/>
          </a:xfrm>
          <a:prstGeom prst="rect">
            <a:avLst/>
          </a:prstGeom>
          <a:noFill/>
        </p:spPr>
        <p:txBody>
          <a:bodyPr wrap="square">
            <a:spAutoFit/>
          </a:bodyPr>
          <a:lstStyle>
            <a:defPPr>
              <a:defRPr lang="en-US"/>
            </a:defPPr>
            <a:lvl1pPr>
              <a:defRPr sz="1400" b="1" i="1"/>
            </a:lvl1pPr>
          </a:lstStyle>
          <a:p>
            <a:r>
              <a:rPr lang="en-US" sz="1400" b="0" i="0" dirty="0">
                <a:solidFill>
                  <a:schemeClr val="tx1"/>
                </a:solidFill>
              </a:rPr>
              <a:t>Savings enabled </a:t>
            </a:r>
            <a:r>
              <a:rPr lang="en-US" b="0" i="0" dirty="0"/>
              <a:t>for asset during initial 12- month service period</a:t>
            </a:r>
            <a:endParaRPr lang="en-US" sz="1400" b="0" i="0" dirty="0">
              <a:solidFill>
                <a:schemeClr val="tx1"/>
              </a:solidFill>
            </a:endParaRPr>
          </a:p>
        </p:txBody>
      </p:sp>
      <p:pic>
        <p:nvPicPr>
          <p:cNvPr id="4" name="Picture 3" descr="A picture containing water, sky, outdoor, boat&#10;&#10;Description automatically generated">
            <a:extLst>
              <a:ext uri="{FF2B5EF4-FFF2-40B4-BE49-F238E27FC236}">
                <a16:creationId xmlns:a16="http://schemas.microsoft.com/office/drawing/2014/main" id="{5F538CD7-B283-4747-B167-0552DD454864}"/>
              </a:ext>
            </a:extLst>
          </p:cNvPr>
          <p:cNvPicPr>
            <a:picLocks noChangeAspect="1"/>
          </p:cNvPicPr>
          <p:nvPr/>
        </p:nvPicPr>
        <p:blipFill rotWithShape="1">
          <a:blip r:embed="rId7">
            <a:extLst>
              <a:ext uri="{28A0092B-C50C-407E-A947-70E740481C1C}">
                <a14:useLocalDpi xmlns:a14="http://schemas.microsoft.com/office/drawing/2010/main" val="0"/>
              </a:ext>
            </a:extLst>
          </a:blip>
          <a:srcRect l="22968"/>
          <a:stretch/>
        </p:blipFill>
        <p:spPr>
          <a:xfrm>
            <a:off x="3919396" y="2337574"/>
            <a:ext cx="3420794" cy="2948657"/>
          </a:xfrm>
          <a:prstGeom prst="rect">
            <a:avLst/>
          </a:prstGeom>
        </p:spPr>
      </p:pic>
    </p:spTree>
    <p:extLst>
      <p:ext uri="{BB962C8B-B14F-4D97-AF65-F5344CB8AC3E}">
        <p14:creationId xmlns:p14="http://schemas.microsoft.com/office/powerpoint/2010/main" val="11044444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DBB71C6-93DD-4EF5-A211-B0E841214F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10068" y="1767234"/>
            <a:ext cx="6771864" cy="3809174"/>
          </a:xfrm>
          <a:prstGeom prst="rect">
            <a:avLst/>
          </a:prstGeom>
        </p:spPr>
      </p:pic>
      <p:sp>
        <p:nvSpPr>
          <p:cNvPr id="7" name="Arrow: Right 6">
            <a:extLst>
              <a:ext uri="{FF2B5EF4-FFF2-40B4-BE49-F238E27FC236}">
                <a16:creationId xmlns:a16="http://schemas.microsoft.com/office/drawing/2014/main" id="{40D66E87-B140-4521-BD3D-8ED4EF43F637}"/>
              </a:ext>
            </a:extLst>
          </p:cNvPr>
          <p:cNvSpPr/>
          <p:nvPr/>
        </p:nvSpPr>
        <p:spPr>
          <a:xfrm>
            <a:off x="1713814" y="4737674"/>
            <a:ext cx="9385300" cy="147319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a:extLst>
              <a:ext uri="{FF2B5EF4-FFF2-40B4-BE49-F238E27FC236}">
                <a16:creationId xmlns:a16="http://schemas.microsoft.com/office/drawing/2014/main" id="{193361BB-DEC8-4DAE-96D2-23CAC00DE0D8}"/>
              </a:ext>
            </a:extLst>
          </p:cNvPr>
          <p:cNvSpPr>
            <a:spLocks noGrp="1"/>
          </p:cNvSpPr>
          <p:nvPr>
            <p:ph type="sldNum" sz="quarter" idx="11"/>
          </p:nvPr>
        </p:nvSpPr>
        <p:spPr/>
        <p:txBody>
          <a:bodyPr/>
          <a:lstStyle/>
          <a:p>
            <a:fld id="{7A3F00B2-786C-401B-9EB3-42A9D0DD4A9F}" type="slidenum">
              <a:rPr lang="nb-NO" smtClean="0"/>
              <a:pPr/>
              <a:t>19</a:t>
            </a:fld>
            <a:endParaRPr lang="nb-NO"/>
          </a:p>
        </p:txBody>
      </p:sp>
      <p:sp>
        <p:nvSpPr>
          <p:cNvPr id="3" name="TextBox 2">
            <a:extLst>
              <a:ext uri="{FF2B5EF4-FFF2-40B4-BE49-F238E27FC236}">
                <a16:creationId xmlns:a16="http://schemas.microsoft.com/office/drawing/2014/main" id="{7BF8A8D4-B56E-43EE-A725-6FAAF149D0FB}"/>
              </a:ext>
            </a:extLst>
          </p:cNvPr>
          <p:cNvSpPr txBox="1"/>
          <p:nvPr/>
        </p:nvSpPr>
        <p:spPr>
          <a:xfrm>
            <a:off x="1702631" y="5084175"/>
            <a:ext cx="4524804" cy="830997"/>
          </a:xfrm>
          <a:prstGeom prst="rect">
            <a:avLst/>
          </a:prstGeom>
          <a:noFill/>
        </p:spPr>
        <p:txBody>
          <a:bodyPr wrap="square" rtlCol="0">
            <a:spAutoFit/>
          </a:bodyPr>
          <a:lstStyle/>
          <a:p>
            <a:r>
              <a:rPr lang="en-US" sz="4800" b="1" dirty="0">
                <a:solidFill>
                  <a:schemeClr val="bg1"/>
                </a:solidFill>
              </a:rPr>
              <a:t>WHY?</a:t>
            </a:r>
          </a:p>
        </p:txBody>
      </p:sp>
      <p:sp>
        <p:nvSpPr>
          <p:cNvPr id="6" name="TextBox 5">
            <a:extLst>
              <a:ext uri="{FF2B5EF4-FFF2-40B4-BE49-F238E27FC236}">
                <a16:creationId xmlns:a16="http://schemas.microsoft.com/office/drawing/2014/main" id="{CB57E44E-302B-4EA8-8051-12BB30A88B49}"/>
              </a:ext>
            </a:extLst>
          </p:cNvPr>
          <p:cNvSpPr txBox="1"/>
          <p:nvPr/>
        </p:nvSpPr>
        <p:spPr>
          <a:xfrm>
            <a:off x="8249244" y="5053353"/>
            <a:ext cx="4893105" cy="830997"/>
          </a:xfrm>
          <a:prstGeom prst="rect">
            <a:avLst/>
          </a:prstGeom>
          <a:noFill/>
        </p:spPr>
        <p:txBody>
          <a:bodyPr wrap="square" rtlCol="0">
            <a:spAutoFit/>
          </a:bodyPr>
          <a:lstStyle/>
          <a:p>
            <a:r>
              <a:rPr lang="en-US" sz="4800" b="1" dirty="0">
                <a:solidFill>
                  <a:schemeClr val="bg1"/>
                </a:solidFill>
              </a:rPr>
              <a:t>HOW</a:t>
            </a:r>
          </a:p>
        </p:txBody>
      </p:sp>
      <p:sp>
        <p:nvSpPr>
          <p:cNvPr id="10" name="TextBox 9">
            <a:extLst>
              <a:ext uri="{FF2B5EF4-FFF2-40B4-BE49-F238E27FC236}">
                <a16:creationId xmlns:a16="http://schemas.microsoft.com/office/drawing/2014/main" id="{58ED68AF-DA33-4CC9-8D8E-2AF79F7338AA}"/>
              </a:ext>
            </a:extLst>
          </p:cNvPr>
          <p:cNvSpPr txBox="1"/>
          <p:nvPr/>
        </p:nvSpPr>
        <p:spPr>
          <a:xfrm>
            <a:off x="3241380" y="5307314"/>
            <a:ext cx="1930400" cy="369332"/>
          </a:xfrm>
          <a:prstGeom prst="rect">
            <a:avLst/>
          </a:prstGeom>
          <a:noFill/>
        </p:spPr>
        <p:txBody>
          <a:bodyPr wrap="square" rtlCol="0">
            <a:spAutoFit/>
          </a:bodyPr>
          <a:lstStyle>
            <a:defPPr>
              <a:defRPr lang="en-US"/>
            </a:defPPr>
            <a:lvl1pPr>
              <a:defRPr>
                <a:solidFill>
                  <a:schemeClr val="bg1"/>
                </a:solidFill>
              </a:defRPr>
            </a:lvl1pPr>
          </a:lstStyle>
          <a:p>
            <a:r>
              <a:rPr lang="en-US" dirty="0"/>
              <a:t>2-3 years ago</a:t>
            </a:r>
          </a:p>
        </p:txBody>
      </p:sp>
      <p:cxnSp>
        <p:nvCxnSpPr>
          <p:cNvPr id="12" name="Straight Arrow Connector 11">
            <a:extLst>
              <a:ext uri="{FF2B5EF4-FFF2-40B4-BE49-F238E27FC236}">
                <a16:creationId xmlns:a16="http://schemas.microsoft.com/office/drawing/2014/main" id="{01A3408F-0981-4C0F-9677-1D02A8432C99}"/>
              </a:ext>
            </a:extLst>
          </p:cNvPr>
          <p:cNvCxnSpPr>
            <a:cxnSpLocks/>
          </p:cNvCxnSpPr>
          <p:nvPr/>
        </p:nvCxnSpPr>
        <p:spPr>
          <a:xfrm flipV="1">
            <a:off x="4838014" y="5474273"/>
            <a:ext cx="2768600" cy="2540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774B11DF-7AAE-4002-AED1-A4F5AD004AA7}"/>
              </a:ext>
            </a:extLst>
          </p:cNvPr>
          <p:cNvSpPr txBox="1"/>
          <p:nvPr/>
        </p:nvSpPr>
        <p:spPr>
          <a:xfrm>
            <a:off x="7705745" y="5281914"/>
            <a:ext cx="739612" cy="369332"/>
          </a:xfrm>
          <a:prstGeom prst="rect">
            <a:avLst/>
          </a:prstGeom>
          <a:noFill/>
        </p:spPr>
        <p:txBody>
          <a:bodyPr wrap="square" rtlCol="0">
            <a:spAutoFit/>
          </a:bodyPr>
          <a:lstStyle>
            <a:defPPr>
              <a:defRPr lang="en-US"/>
            </a:defPPr>
            <a:lvl1pPr>
              <a:defRPr>
                <a:solidFill>
                  <a:schemeClr val="bg1"/>
                </a:solidFill>
              </a:defRPr>
            </a:lvl1pPr>
          </a:lstStyle>
          <a:p>
            <a:r>
              <a:rPr lang="en-US" dirty="0"/>
              <a:t>now</a:t>
            </a:r>
          </a:p>
        </p:txBody>
      </p:sp>
      <p:sp>
        <p:nvSpPr>
          <p:cNvPr id="15" name="Title 1">
            <a:extLst>
              <a:ext uri="{FF2B5EF4-FFF2-40B4-BE49-F238E27FC236}">
                <a16:creationId xmlns:a16="http://schemas.microsoft.com/office/drawing/2014/main" id="{79675C98-2BD4-4AFE-9C57-C64490787260}"/>
              </a:ext>
            </a:extLst>
          </p:cNvPr>
          <p:cNvSpPr txBox="1">
            <a:spLocks/>
          </p:cNvSpPr>
          <p:nvPr/>
        </p:nvSpPr>
        <p:spPr>
          <a:xfrm>
            <a:off x="2034805" y="691698"/>
            <a:ext cx="8106895" cy="923586"/>
          </a:xfrm>
          <a:prstGeom prst="rect">
            <a:avLst/>
          </a:prstGeom>
        </p:spPr>
        <p:txBody>
          <a:bodyPr/>
          <a:lstStyle>
            <a:lvl1pPr algn="ctr" defTabSz="914446" rtl="0" eaLnBrk="1" latinLnBrk="0" hangingPunct="1">
              <a:lnSpc>
                <a:spcPct val="90000"/>
              </a:lnSpc>
              <a:spcBef>
                <a:spcPct val="0"/>
              </a:spcBef>
              <a:buNone/>
              <a:defRPr sz="3001" b="1" kern="1200">
                <a:solidFill>
                  <a:srgbClr val="001639"/>
                </a:solidFill>
                <a:latin typeface="Calibri" panose="020F0502020204030204" pitchFamily="34" charset="0"/>
                <a:ea typeface="+mj-ea"/>
                <a:cs typeface="Calibri" panose="020F0502020204030204" pitchFamily="34" charset="0"/>
              </a:defRPr>
            </a:lvl1pPr>
          </a:lstStyle>
          <a:p>
            <a:r>
              <a:rPr lang="en-US" dirty="0"/>
              <a:t>From hype to reality: The digital twin discussion has moved forward</a:t>
            </a:r>
          </a:p>
        </p:txBody>
      </p:sp>
    </p:spTree>
    <p:extLst>
      <p:ext uri="{BB962C8B-B14F-4D97-AF65-F5344CB8AC3E}">
        <p14:creationId xmlns:p14="http://schemas.microsoft.com/office/powerpoint/2010/main" val="19231475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8">
            <a:extLst>
              <a:ext uri="{FF2B5EF4-FFF2-40B4-BE49-F238E27FC236}">
                <a16:creationId xmlns:a16="http://schemas.microsoft.com/office/drawing/2014/main" id="{681AD937-47F4-4D9C-A423-DA5C7B164591}"/>
              </a:ext>
            </a:extLst>
          </p:cNvPr>
          <p:cNvPicPr>
            <a:picLocks noChangeAspect="1"/>
          </p:cNvPicPr>
          <p:nvPr/>
        </p:nvPicPr>
        <p:blipFill rotWithShape="1">
          <a:blip r:embed="rId3">
            <a:extLst>
              <a:ext uri="{28A0092B-C50C-407E-A947-70E740481C1C}">
                <a14:useLocalDpi xmlns:a14="http://schemas.microsoft.com/office/drawing/2010/main" val="0"/>
              </a:ext>
            </a:extLst>
          </a:blip>
          <a:srcRect l="404" t="20229" r="-404" b="12260"/>
          <a:stretch/>
        </p:blipFill>
        <p:spPr>
          <a:xfrm>
            <a:off x="-50442" y="1555666"/>
            <a:ext cx="12344400" cy="4687910"/>
          </a:xfrm>
          <a:prstGeom prst="rect">
            <a:avLst/>
          </a:prstGeom>
          <a:noFill/>
        </p:spPr>
      </p:pic>
      <p:sp>
        <p:nvSpPr>
          <p:cNvPr id="3" name="Content Placeholder 2">
            <a:extLst>
              <a:ext uri="{FF2B5EF4-FFF2-40B4-BE49-F238E27FC236}">
                <a16:creationId xmlns:a16="http://schemas.microsoft.com/office/drawing/2014/main" id="{924EAEAD-20AA-4763-A493-811475334A6D}"/>
              </a:ext>
            </a:extLst>
          </p:cNvPr>
          <p:cNvSpPr>
            <a:spLocks noGrp="1"/>
          </p:cNvSpPr>
          <p:nvPr>
            <p:ph sz="half" idx="1"/>
          </p:nvPr>
        </p:nvSpPr>
        <p:spPr/>
        <p:txBody>
          <a:bodyPr/>
          <a:lstStyle/>
          <a:p>
            <a:endParaRPr lang="en-US" dirty="0"/>
          </a:p>
        </p:txBody>
      </p:sp>
      <p:sp>
        <p:nvSpPr>
          <p:cNvPr id="5" name="Slide Number Placeholder 4">
            <a:extLst>
              <a:ext uri="{FF2B5EF4-FFF2-40B4-BE49-F238E27FC236}">
                <a16:creationId xmlns:a16="http://schemas.microsoft.com/office/drawing/2014/main" id="{3E2BD6A4-4B00-4C5A-83FB-BAA7EB1C1DBD}"/>
              </a:ext>
            </a:extLst>
          </p:cNvPr>
          <p:cNvSpPr>
            <a:spLocks noGrp="1"/>
          </p:cNvSpPr>
          <p:nvPr>
            <p:ph type="sldNum" sz="quarter" idx="18"/>
          </p:nvPr>
        </p:nvSpPr>
        <p:spPr/>
        <p:txBody>
          <a:bodyPr/>
          <a:lstStyle/>
          <a:p>
            <a:fld id="{7A3F00B2-786C-401B-9EB3-42A9D0DD4A9F}" type="slidenum">
              <a:rPr lang="nb-NO" smtClean="0"/>
              <a:pPr/>
              <a:t>2</a:t>
            </a:fld>
            <a:endParaRPr lang="nb-NO"/>
          </a:p>
        </p:txBody>
      </p:sp>
      <p:sp>
        <p:nvSpPr>
          <p:cNvPr id="2" name="Rectangle 1">
            <a:extLst>
              <a:ext uri="{FF2B5EF4-FFF2-40B4-BE49-F238E27FC236}">
                <a16:creationId xmlns:a16="http://schemas.microsoft.com/office/drawing/2014/main" id="{B15F4B8D-314D-4C04-BCCF-714AC5F7287E}"/>
              </a:ext>
            </a:extLst>
          </p:cNvPr>
          <p:cNvSpPr/>
          <p:nvPr/>
        </p:nvSpPr>
        <p:spPr>
          <a:xfrm>
            <a:off x="0" y="1555666"/>
            <a:ext cx="12192000" cy="4687910"/>
          </a:xfrm>
          <a:prstGeom prst="rect">
            <a:avLst/>
          </a:prstGeom>
          <a:solidFill>
            <a:schemeClr val="accent1">
              <a:alpha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077164E2-6062-494E-AB1E-15AD2FBE49CB}"/>
              </a:ext>
            </a:extLst>
          </p:cNvPr>
          <p:cNvSpPr txBox="1"/>
          <p:nvPr/>
        </p:nvSpPr>
        <p:spPr>
          <a:xfrm>
            <a:off x="1953197" y="2544305"/>
            <a:ext cx="8188503" cy="2215991"/>
          </a:xfrm>
          <a:prstGeom prst="rect">
            <a:avLst/>
          </a:prstGeom>
          <a:noFill/>
        </p:spPr>
        <p:txBody>
          <a:bodyPr wrap="square" rtlCol="0">
            <a:spAutoFit/>
          </a:bodyPr>
          <a:lstStyle/>
          <a:p>
            <a:pPr algn="ctr"/>
            <a:r>
              <a:rPr lang="en-US" sz="13800" b="1" dirty="0">
                <a:solidFill>
                  <a:schemeClr val="bg1"/>
                </a:solidFill>
              </a:rPr>
              <a:t>30,000</a:t>
            </a:r>
          </a:p>
        </p:txBody>
      </p:sp>
    </p:spTree>
    <p:extLst>
      <p:ext uri="{BB962C8B-B14F-4D97-AF65-F5344CB8AC3E}">
        <p14:creationId xmlns:p14="http://schemas.microsoft.com/office/powerpoint/2010/main" val="33512047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1B53FE-AEC8-4594-8074-7B009992204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5" imgW="498" imgH="499" progId="TCLayout.ActiveDocument.1">
                  <p:embed/>
                </p:oleObj>
              </mc:Choice>
              <mc:Fallback>
                <p:oleObj name="think-cell Slide" r:id="rId5" imgW="498" imgH="499" progId="TCLayout.ActiveDocument.1">
                  <p:embed/>
                  <p:pic>
                    <p:nvPicPr>
                      <p:cNvPr id="5" name="Object 4" hidden="1">
                        <a:extLst>
                          <a:ext uri="{FF2B5EF4-FFF2-40B4-BE49-F238E27FC236}">
                            <a16:creationId xmlns:a16="http://schemas.microsoft.com/office/drawing/2014/main" id="{2C1B53FE-AEC8-4594-8074-7B009992204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6D5D4D2-49B6-450F-ADD7-A5E1900AA14C}"/>
              </a:ext>
            </a:extLst>
          </p:cNvPr>
          <p:cNvSpPr>
            <a:spLocks noGrp="1"/>
          </p:cNvSpPr>
          <p:nvPr>
            <p:ph type="body" sz="quarter" idx="39"/>
          </p:nvPr>
        </p:nvSpPr>
        <p:spPr/>
        <p:txBody>
          <a:bodyPr/>
          <a:lstStyle/>
          <a:p>
            <a:r>
              <a:rPr lang="en-GB" dirty="0"/>
              <a:t>Source: Company information</a:t>
            </a:r>
          </a:p>
        </p:txBody>
      </p:sp>
      <p:sp>
        <p:nvSpPr>
          <p:cNvPr id="3" name="Title 2">
            <a:extLst>
              <a:ext uri="{FF2B5EF4-FFF2-40B4-BE49-F238E27FC236}">
                <a16:creationId xmlns:a16="http://schemas.microsoft.com/office/drawing/2014/main" id="{30E3C9EB-2399-4D6D-BC0B-00217E4357AB}"/>
              </a:ext>
            </a:extLst>
          </p:cNvPr>
          <p:cNvSpPr>
            <a:spLocks noGrp="1"/>
          </p:cNvSpPr>
          <p:nvPr>
            <p:ph type="title"/>
          </p:nvPr>
        </p:nvSpPr>
        <p:spPr/>
        <p:txBody>
          <a:bodyPr vert="horz"/>
          <a:lstStyle/>
          <a:p>
            <a:r>
              <a:rPr lang="en-GB" dirty="0"/>
              <a:t>The future of energy systems is integration</a:t>
            </a:r>
          </a:p>
        </p:txBody>
      </p:sp>
      <p:sp>
        <p:nvSpPr>
          <p:cNvPr id="8" name="Rectangle 4">
            <a:extLst>
              <a:ext uri="{FF2B5EF4-FFF2-40B4-BE49-F238E27FC236}">
                <a16:creationId xmlns:a16="http://schemas.microsoft.com/office/drawing/2014/main" id="{4D028A1C-C7F2-4936-B844-7738576E27AC}"/>
              </a:ext>
            </a:extLst>
          </p:cNvPr>
          <p:cNvSpPr>
            <a:spLocks/>
          </p:cNvSpPr>
          <p:nvPr/>
        </p:nvSpPr>
        <p:spPr bwMode="auto">
          <a:xfrm>
            <a:off x="552585" y="1195809"/>
            <a:ext cx="5719029" cy="899480"/>
          </a:xfrm>
          <a:prstGeom prst="roundRect">
            <a:avLst/>
          </a:prstGeom>
          <a:solidFill>
            <a:schemeClr val="bg1">
              <a:lumMod val="95000"/>
            </a:schemeClr>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9050" tIns="19050" rIns="19050" bIns="19050" anchor="ct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latin typeface="Helvetica Light" charset="0"/>
              <a:ea typeface="Helvetica Light" charset="0"/>
              <a:cs typeface="Helvetica Light" charset="0"/>
              <a:sym typeface="Helvetica Light" charset="0"/>
            </a:endParaRPr>
          </a:p>
        </p:txBody>
      </p:sp>
      <p:sp>
        <p:nvSpPr>
          <p:cNvPr id="9" name="Oval 8">
            <a:extLst>
              <a:ext uri="{FF2B5EF4-FFF2-40B4-BE49-F238E27FC236}">
                <a16:creationId xmlns:a16="http://schemas.microsoft.com/office/drawing/2014/main" id="{AB5D1609-FB27-4150-A35C-3C4F14BB367C}"/>
              </a:ext>
            </a:extLst>
          </p:cNvPr>
          <p:cNvSpPr>
            <a:spLocks/>
          </p:cNvSpPr>
          <p:nvPr/>
        </p:nvSpPr>
        <p:spPr bwMode="auto">
          <a:xfrm>
            <a:off x="234542" y="1304218"/>
            <a:ext cx="682696" cy="682662"/>
          </a:xfrm>
          <a:prstGeom prst="ellipse">
            <a:avLst/>
          </a:prstGeom>
          <a:solidFill>
            <a:schemeClr val="accent1"/>
          </a:solidFill>
          <a:ln w="28575">
            <a:solidFill>
              <a:schemeClr val="bg1"/>
            </a:solidFill>
            <a:miter lim="4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19050" tIns="19050" rIns="19050" bIns="19050" anchor="ct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Helvetica Light" charset="0"/>
              <a:ea typeface="Helvetica Light" charset="0"/>
              <a:cs typeface="Helvetica Light" charset="0"/>
              <a:sym typeface="Helvetica Light" charset="0"/>
            </a:endParaRPr>
          </a:p>
        </p:txBody>
      </p:sp>
      <p:sp>
        <p:nvSpPr>
          <p:cNvPr id="10" name="Rectangle 9">
            <a:extLst>
              <a:ext uri="{FF2B5EF4-FFF2-40B4-BE49-F238E27FC236}">
                <a16:creationId xmlns:a16="http://schemas.microsoft.com/office/drawing/2014/main" id="{9F876238-DDAF-4D12-BD97-EAD4278F09B5}"/>
              </a:ext>
            </a:extLst>
          </p:cNvPr>
          <p:cNvSpPr/>
          <p:nvPr/>
        </p:nvSpPr>
        <p:spPr>
          <a:xfrm>
            <a:off x="952915" y="1291606"/>
            <a:ext cx="5292000" cy="707886"/>
          </a:xfrm>
          <a:prstGeom prst="rect">
            <a:avLst/>
          </a:prstGeom>
        </p:spPr>
        <p:txBody>
          <a:bodyPr wrap="square" anchor="ctr">
            <a:spAutoFit/>
          </a:bodyPr>
          <a:lstStyle/>
          <a:p>
            <a:pPr>
              <a:defRPr/>
            </a:pPr>
            <a:r>
              <a:rPr lang="en-GB" sz="1600" b="1" dirty="0">
                <a:solidFill>
                  <a:prstClr val="black"/>
                </a:solidFill>
                <a:latin typeface="+mj-lt"/>
              </a:rPr>
              <a:t>Licence to operate</a:t>
            </a:r>
            <a:endParaRPr kumimoji="0" lang="en-GB" sz="1600" b="1" i="0" u="none" strike="noStrike" kern="1200" cap="none" spc="0" normalizeH="0" baseline="0" dirty="0">
              <a:ln>
                <a:noFill/>
              </a:ln>
              <a:solidFill>
                <a:prstClr val="black"/>
              </a:solidFill>
              <a:effectLst/>
              <a:uLnTx/>
              <a:uFillTx/>
              <a:latin typeface="+mj-lt"/>
              <a:ea typeface="+mn-ea"/>
              <a:cs typeface="+mn-cs"/>
            </a:endParaRPr>
          </a:p>
          <a:p>
            <a:pPr marL="0" indent="0">
              <a:spcAft>
                <a:spcPts val="600"/>
              </a:spcAft>
              <a:buFont typeface="Arial" panose="020B0604020202020204" pitchFamily="34" charset="0"/>
              <a:buNone/>
            </a:pPr>
            <a:r>
              <a:rPr lang="en-GB" sz="1200" dirty="0">
                <a:latin typeface="+mj-lt"/>
                <a:cs typeface="Times New Roman" panose="02020603050405020304" pitchFamily="18" charset="0"/>
              </a:rPr>
              <a:t>Capital investments into greenfield projects of the future </a:t>
            </a:r>
            <a:r>
              <a:rPr lang="en-GB" sz="1200" b="1" dirty="0">
                <a:latin typeface="+mj-lt"/>
                <a:cs typeface="Times New Roman" panose="02020603050405020304" pitchFamily="18" charset="0"/>
              </a:rPr>
              <a:t>will require a carbon neutral approach</a:t>
            </a:r>
          </a:p>
        </p:txBody>
      </p:sp>
      <p:sp>
        <p:nvSpPr>
          <p:cNvPr id="31" name="Rectangle 4">
            <a:extLst>
              <a:ext uri="{FF2B5EF4-FFF2-40B4-BE49-F238E27FC236}">
                <a16:creationId xmlns:a16="http://schemas.microsoft.com/office/drawing/2014/main" id="{65C4A5AF-E2C8-4CA3-8DD3-B0A1DF6212EF}"/>
              </a:ext>
            </a:extLst>
          </p:cNvPr>
          <p:cNvSpPr>
            <a:spLocks/>
          </p:cNvSpPr>
          <p:nvPr/>
        </p:nvSpPr>
        <p:spPr bwMode="auto">
          <a:xfrm>
            <a:off x="552585" y="5255859"/>
            <a:ext cx="5719029" cy="899480"/>
          </a:xfrm>
          <a:prstGeom prst="roundRect">
            <a:avLst/>
          </a:prstGeom>
          <a:solidFill>
            <a:schemeClr val="bg1">
              <a:lumMod val="95000"/>
            </a:schemeClr>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9050" tIns="19050" rIns="19050" bIns="19050" anchor="ct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latin typeface="Helvetica Light" charset="0"/>
              <a:ea typeface="Helvetica Light" charset="0"/>
              <a:cs typeface="Helvetica Light" charset="0"/>
              <a:sym typeface="Helvetica Light" charset="0"/>
            </a:endParaRPr>
          </a:p>
        </p:txBody>
      </p:sp>
      <p:sp>
        <p:nvSpPr>
          <p:cNvPr id="33" name="Oval 8">
            <a:extLst>
              <a:ext uri="{FF2B5EF4-FFF2-40B4-BE49-F238E27FC236}">
                <a16:creationId xmlns:a16="http://schemas.microsoft.com/office/drawing/2014/main" id="{079EAF6A-0FB3-4837-B329-60FBFF5CE97D}"/>
              </a:ext>
            </a:extLst>
          </p:cNvPr>
          <p:cNvSpPr>
            <a:spLocks/>
          </p:cNvSpPr>
          <p:nvPr/>
        </p:nvSpPr>
        <p:spPr bwMode="auto">
          <a:xfrm>
            <a:off x="234542" y="5364249"/>
            <a:ext cx="672575" cy="682662"/>
          </a:xfrm>
          <a:prstGeom prst="ellipse">
            <a:avLst/>
          </a:prstGeom>
          <a:solidFill>
            <a:srgbClr val="A5C2C7"/>
          </a:solidFill>
          <a:ln w="28575">
            <a:solidFill>
              <a:schemeClr val="bg1"/>
            </a:solidFill>
          </a:ln>
          <a:effectLst/>
        </p:spPr>
        <p:txBody>
          <a:bodyPr lIns="19050" tIns="19050" rIns="19050" bIns="19050" anchor="ct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Helvetica Light" charset="0"/>
              <a:ea typeface="Helvetica Light" charset="0"/>
              <a:cs typeface="Helvetica Light" charset="0"/>
              <a:sym typeface="Helvetica Light" charset="0"/>
            </a:endParaRPr>
          </a:p>
        </p:txBody>
      </p:sp>
      <p:sp>
        <p:nvSpPr>
          <p:cNvPr id="36" name="Rectangle 35">
            <a:extLst>
              <a:ext uri="{FF2B5EF4-FFF2-40B4-BE49-F238E27FC236}">
                <a16:creationId xmlns:a16="http://schemas.microsoft.com/office/drawing/2014/main" id="{9ABDCBC6-E1C4-4995-A372-D02C8176E120}"/>
              </a:ext>
            </a:extLst>
          </p:cNvPr>
          <p:cNvSpPr/>
          <p:nvPr/>
        </p:nvSpPr>
        <p:spPr>
          <a:xfrm>
            <a:off x="952915" y="5412101"/>
            <a:ext cx="5365510" cy="586956"/>
          </a:xfrm>
          <a:prstGeom prst="rect">
            <a:avLst/>
          </a:prstGeom>
        </p:spPr>
        <p:txBody>
          <a:bodyPr wrap="square"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dirty="0">
                <a:ln>
                  <a:noFill/>
                </a:ln>
                <a:solidFill>
                  <a:prstClr val="black"/>
                </a:solidFill>
                <a:effectLst/>
                <a:uLnTx/>
                <a:uFillTx/>
                <a:latin typeface="+mj-lt"/>
                <a:ea typeface="+mn-ea"/>
                <a:cs typeface="+mn-cs"/>
              </a:rPr>
              <a:t>Collaborating at scale</a:t>
            </a:r>
          </a:p>
          <a:p>
            <a:pPr marL="0" marR="0" lvl="0" indent="0" algn="l" defTabSz="914400" eaLnBrk="1" fontAlgn="auto" latinLnBrk="0" hangingPunct="1">
              <a:lnSpc>
                <a:spcPct val="15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mj-lt"/>
                <a:ea typeface="+mn-ea"/>
                <a:cs typeface="+mn-cs"/>
              </a:rPr>
              <a:t>Further enhance collaboration across increasingly complex operating assets</a:t>
            </a:r>
          </a:p>
        </p:txBody>
      </p:sp>
      <p:pic>
        <p:nvPicPr>
          <p:cNvPr id="23" name="Picture 22" descr="Icon&#10;&#10;Description automatically generated">
            <a:extLst>
              <a:ext uri="{FF2B5EF4-FFF2-40B4-BE49-F238E27FC236}">
                <a16:creationId xmlns:a16="http://schemas.microsoft.com/office/drawing/2014/main" id="{3497B990-24F1-4E29-82B7-C2AD9C718AAC}"/>
              </a:ext>
            </a:extLst>
          </p:cNvPr>
          <p:cNvPicPr>
            <a:picLocks noChangeAspect="1"/>
          </p:cNvPicPr>
          <p:nvPr/>
        </p:nvPicPr>
        <p:blipFill>
          <a:blip r:embed="rId7"/>
          <a:stretch>
            <a:fillRect/>
          </a:stretch>
        </p:blipFill>
        <p:spPr>
          <a:xfrm>
            <a:off x="283463" y="5395852"/>
            <a:ext cx="598005" cy="598005"/>
          </a:xfrm>
          <a:prstGeom prst="rect">
            <a:avLst/>
          </a:prstGeom>
        </p:spPr>
      </p:pic>
      <p:sp>
        <p:nvSpPr>
          <p:cNvPr id="22" name="Rectangle 4">
            <a:extLst>
              <a:ext uri="{FF2B5EF4-FFF2-40B4-BE49-F238E27FC236}">
                <a16:creationId xmlns:a16="http://schemas.microsoft.com/office/drawing/2014/main" id="{1143C7A2-E3BA-4423-B33D-E89D822A85F6}"/>
              </a:ext>
            </a:extLst>
          </p:cNvPr>
          <p:cNvSpPr>
            <a:spLocks/>
          </p:cNvSpPr>
          <p:nvPr/>
        </p:nvSpPr>
        <p:spPr bwMode="auto">
          <a:xfrm>
            <a:off x="552585" y="4240846"/>
            <a:ext cx="5719029" cy="899480"/>
          </a:xfrm>
          <a:prstGeom prst="roundRect">
            <a:avLst/>
          </a:prstGeom>
          <a:solidFill>
            <a:schemeClr val="bg1">
              <a:lumMod val="95000"/>
            </a:schemeClr>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9050" tIns="19050" rIns="19050" bIns="19050" anchor="ct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chemeClr val="tx1"/>
              </a:solidFill>
              <a:effectLst/>
              <a:uLnTx/>
              <a:uFillTx/>
              <a:latin typeface="Helvetica Light" charset="0"/>
              <a:ea typeface="Helvetica Light" charset="0"/>
              <a:cs typeface="Helvetica Light" charset="0"/>
              <a:sym typeface="Helvetica Light" charset="0"/>
            </a:endParaRPr>
          </a:p>
        </p:txBody>
      </p:sp>
      <p:sp>
        <p:nvSpPr>
          <p:cNvPr id="24" name="Oval 8">
            <a:extLst>
              <a:ext uri="{FF2B5EF4-FFF2-40B4-BE49-F238E27FC236}">
                <a16:creationId xmlns:a16="http://schemas.microsoft.com/office/drawing/2014/main" id="{3CB68E82-8E33-4787-BA97-7308B9305DF7}"/>
              </a:ext>
            </a:extLst>
          </p:cNvPr>
          <p:cNvSpPr>
            <a:spLocks/>
          </p:cNvSpPr>
          <p:nvPr/>
        </p:nvSpPr>
        <p:spPr bwMode="auto">
          <a:xfrm>
            <a:off x="234542" y="4349255"/>
            <a:ext cx="672575" cy="682662"/>
          </a:xfrm>
          <a:prstGeom prst="ellipse">
            <a:avLst/>
          </a:prstGeom>
          <a:solidFill>
            <a:srgbClr val="78A4AA"/>
          </a:solidFill>
          <a:ln w="28575">
            <a:solidFill>
              <a:schemeClr val="bg1"/>
            </a:solidFill>
          </a:ln>
          <a:effectLst/>
        </p:spPr>
        <p:txBody>
          <a:bodyPr lIns="19050" tIns="19050" rIns="19050" bIns="19050" anchor="ct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Helvetica Light" charset="0"/>
              <a:ea typeface="Helvetica Light" charset="0"/>
              <a:cs typeface="Helvetica Light" charset="0"/>
              <a:sym typeface="Helvetica Light" charset="0"/>
            </a:endParaRPr>
          </a:p>
        </p:txBody>
      </p:sp>
      <p:sp>
        <p:nvSpPr>
          <p:cNvPr id="35" name="Rectangle 34">
            <a:extLst>
              <a:ext uri="{FF2B5EF4-FFF2-40B4-BE49-F238E27FC236}">
                <a16:creationId xmlns:a16="http://schemas.microsoft.com/office/drawing/2014/main" id="{63EFA5CD-7E4C-4306-B9E2-C1AEFE60B2C9}"/>
              </a:ext>
            </a:extLst>
          </p:cNvPr>
          <p:cNvSpPr/>
          <p:nvPr/>
        </p:nvSpPr>
        <p:spPr>
          <a:xfrm>
            <a:off x="952915" y="4428976"/>
            <a:ext cx="5340139" cy="523220"/>
          </a:xfrm>
          <a:prstGeom prst="rect">
            <a:avLst/>
          </a:prstGeom>
        </p:spPr>
        <p:txBody>
          <a:bodyPr wrap="square"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dirty="0">
                <a:ln>
                  <a:noFill/>
                </a:ln>
                <a:effectLst/>
                <a:uLnTx/>
                <a:uFillTx/>
                <a:latin typeface="+mj-lt"/>
                <a:ea typeface="+mn-ea"/>
                <a:cs typeface="+mn-cs"/>
              </a:rPr>
              <a:t>Industrial Worksurface</a:t>
            </a:r>
          </a:p>
          <a:p>
            <a:pPr marL="0" indent="0">
              <a:spcAft>
                <a:spcPts val="600"/>
              </a:spcAft>
              <a:buFont typeface="Arial" panose="020B0604020202020204" pitchFamily="34" charset="0"/>
              <a:buNone/>
            </a:pPr>
            <a:r>
              <a:rPr lang="en-GB" sz="1200" b="1" dirty="0">
                <a:latin typeface="+mj-lt"/>
                <a:cs typeface="Times New Roman" panose="02020603050405020304" pitchFamily="18" charset="0"/>
              </a:rPr>
              <a:t>Provides a work surface </a:t>
            </a:r>
            <a:r>
              <a:rPr lang="en-GB" sz="1200" dirty="0">
                <a:latin typeface="+mj-lt"/>
                <a:cs typeface="Times New Roman" panose="02020603050405020304" pitchFamily="18" charset="0"/>
              </a:rPr>
              <a:t>to operate and maintain a </a:t>
            </a:r>
            <a:r>
              <a:rPr lang="en-GB" sz="1200" b="1" dirty="0">
                <a:latin typeface="+mj-lt"/>
                <a:cs typeface="Times New Roman" panose="02020603050405020304" pitchFamily="18" charset="0"/>
              </a:rPr>
              <a:t>complex fleet of assets</a:t>
            </a:r>
          </a:p>
        </p:txBody>
      </p:sp>
      <p:sp>
        <p:nvSpPr>
          <p:cNvPr id="12" name="Rectangle 4">
            <a:extLst>
              <a:ext uri="{FF2B5EF4-FFF2-40B4-BE49-F238E27FC236}">
                <a16:creationId xmlns:a16="http://schemas.microsoft.com/office/drawing/2014/main" id="{A7FC1AD4-07B3-464C-BDA2-90DB501D2152}"/>
              </a:ext>
            </a:extLst>
          </p:cNvPr>
          <p:cNvSpPr>
            <a:spLocks/>
          </p:cNvSpPr>
          <p:nvPr/>
        </p:nvSpPr>
        <p:spPr bwMode="auto">
          <a:xfrm>
            <a:off x="552585" y="3225834"/>
            <a:ext cx="5719029" cy="899480"/>
          </a:xfrm>
          <a:prstGeom prst="roundRect">
            <a:avLst/>
          </a:prstGeom>
          <a:solidFill>
            <a:schemeClr val="bg1">
              <a:lumMod val="95000"/>
            </a:schemeClr>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9050" tIns="19050" rIns="19050" bIns="19050" anchor="ct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latin typeface="Helvetica Light" charset="0"/>
              <a:ea typeface="Helvetica Light" charset="0"/>
              <a:cs typeface="Helvetica Light" charset="0"/>
              <a:sym typeface="Helvetica Light" charset="0"/>
            </a:endParaRPr>
          </a:p>
        </p:txBody>
      </p:sp>
      <p:sp>
        <p:nvSpPr>
          <p:cNvPr id="13" name="Oval 8">
            <a:extLst>
              <a:ext uri="{FF2B5EF4-FFF2-40B4-BE49-F238E27FC236}">
                <a16:creationId xmlns:a16="http://schemas.microsoft.com/office/drawing/2014/main" id="{968B666F-4574-41B5-BCE2-E785D530A765}"/>
              </a:ext>
            </a:extLst>
          </p:cNvPr>
          <p:cNvSpPr>
            <a:spLocks/>
          </p:cNvSpPr>
          <p:nvPr/>
        </p:nvSpPr>
        <p:spPr bwMode="auto">
          <a:xfrm>
            <a:off x="234542" y="3334243"/>
            <a:ext cx="682696" cy="682662"/>
          </a:xfrm>
          <a:prstGeom prst="ellipse">
            <a:avLst/>
          </a:prstGeom>
          <a:solidFill>
            <a:srgbClr val="1E6772"/>
          </a:solidFill>
          <a:ln w="28575">
            <a:solidFill>
              <a:schemeClr val="bg1"/>
            </a:solidFill>
          </a:ln>
          <a:effectLst/>
        </p:spPr>
        <p:txBody>
          <a:bodyPr lIns="19050" tIns="19050" rIns="19050" bIns="19050" anchor="ct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Helvetica Light" charset="0"/>
              <a:ea typeface="Helvetica Light" charset="0"/>
              <a:cs typeface="Helvetica Light" charset="0"/>
              <a:sym typeface="Helvetica Light" charset="0"/>
            </a:endParaRPr>
          </a:p>
        </p:txBody>
      </p:sp>
      <p:sp>
        <p:nvSpPr>
          <p:cNvPr id="14" name="Rectangle 13">
            <a:extLst>
              <a:ext uri="{FF2B5EF4-FFF2-40B4-BE49-F238E27FC236}">
                <a16:creationId xmlns:a16="http://schemas.microsoft.com/office/drawing/2014/main" id="{BF2C6335-7497-4FD7-8320-B3B1FFB8778E}"/>
              </a:ext>
            </a:extLst>
          </p:cNvPr>
          <p:cNvSpPr/>
          <p:nvPr/>
        </p:nvSpPr>
        <p:spPr>
          <a:xfrm>
            <a:off x="952915" y="3321631"/>
            <a:ext cx="5292000" cy="707886"/>
          </a:xfrm>
          <a:prstGeom prst="rect">
            <a:avLst/>
          </a:prstGeom>
        </p:spPr>
        <p:txBody>
          <a:bodyPr wrap="square"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dirty="0">
                <a:ln>
                  <a:noFill/>
                </a:ln>
                <a:effectLst/>
                <a:uLnTx/>
                <a:uFillTx/>
                <a:latin typeface="+mj-lt"/>
                <a:ea typeface="+mn-ea"/>
                <a:cs typeface="+mn-cs"/>
              </a:rPr>
              <a:t>Twin of Twins</a:t>
            </a:r>
          </a:p>
          <a:p>
            <a:pPr marL="0" indent="0">
              <a:spcAft>
                <a:spcPts val="600"/>
              </a:spcAft>
              <a:buFont typeface="Arial" panose="020B0604020202020204" pitchFamily="34" charset="0"/>
              <a:buNone/>
            </a:pPr>
            <a:r>
              <a:rPr lang="en-GB" sz="1200" b="1" dirty="0" err="1">
                <a:latin typeface="+mj-lt"/>
                <a:cs typeface="Times New Roman" panose="02020603050405020304" pitchFamily="18" charset="0"/>
              </a:rPr>
              <a:t>Kognitwin</a:t>
            </a:r>
            <a:r>
              <a:rPr lang="en-GB" sz="1200" b="1" dirty="0">
                <a:latin typeface="+mj-lt"/>
                <a:cs typeface="Times New Roman" panose="02020603050405020304" pitchFamily="18" charset="0"/>
              </a:rPr>
              <a:t> is strongly positioned </a:t>
            </a:r>
            <a:r>
              <a:rPr lang="en-GB" sz="1200" dirty="0">
                <a:latin typeface="+mj-lt"/>
                <a:cs typeface="Times New Roman" panose="02020603050405020304" pitchFamily="18" charset="0"/>
              </a:rPr>
              <a:t>to provide an integrated twin for the proposed system</a:t>
            </a:r>
          </a:p>
        </p:txBody>
      </p:sp>
      <p:sp>
        <p:nvSpPr>
          <p:cNvPr id="16" name="Rectangle 4">
            <a:extLst>
              <a:ext uri="{FF2B5EF4-FFF2-40B4-BE49-F238E27FC236}">
                <a16:creationId xmlns:a16="http://schemas.microsoft.com/office/drawing/2014/main" id="{5D3260CF-62DF-4CA7-BA01-7114D8D6AB57}"/>
              </a:ext>
            </a:extLst>
          </p:cNvPr>
          <p:cNvSpPr>
            <a:spLocks/>
          </p:cNvSpPr>
          <p:nvPr/>
        </p:nvSpPr>
        <p:spPr bwMode="auto">
          <a:xfrm>
            <a:off x="552585" y="2210821"/>
            <a:ext cx="5719029" cy="899480"/>
          </a:xfrm>
          <a:prstGeom prst="roundRect">
            <a:avLst/>
          </a:prstGeom>
          <a:solidFill>
            <a:schemeClr val="bg1">
              <a:lumMod val="95000"/>
            </a:schemeClr>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9050" tIns="19050" rIns="19050" bIns="19050" anchor="ct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latin typeface="Helvetica Light" charset="0"/>
              <a:ea typeface="Helvetica Light" charset="0"/>
              <a:cs typeface="Helvetica Light" charset="0"/>
              <a:sym typeface="Helvetica Light" charset="0"/>
            </a:endParaRPr>
          </a:p>
        </p:txBody>
      </p:sp>
      <p:sp>
        <p:nvSpPr>
          <p:cNvPr id="17" name="Oval 8">
            <a:extLst>
              <a:ext uri="{FF2B5EF4-FFF2-40B4-BE49-F238E27FC236}">
                <a16:creationId xmlns:a16="http://schemas.microsoft.com/office/drawing/2014/main" id="{EB591623-36B7-405E-8764-3DD47B86B989}"/>
              </a:ext>
            </a:extLst>
          </p:cNvPr>
          <p:cNvSpPr>
            <a:spLocks/>
          </p:cNvSpPr>
          <p:nvPr/>
        </p:nvSpPr>
        <p:spPr bwMode="auto">
          <a:xfrm>
            <a:off x="234542" y="2319230"/>
            <a:ext cx="682696" cy="682662"/>
          </a:xfrm>
          <a:prstGeom prst="ellipse">
            <a:avLst/>
          </a:prstGeom>
          <a:solidFill>
            <a:schemeClr val="accent2"/>
          </a:solidFill>
          <a:ln w="28575">
            <a:solidFill>
              <a:schemeClr val="bg1"/>
            </a:solidFill>
          </a:ln>
          <a:effectLst/>
        </p:spPr>
        <p:txBody>
          <a:bodyPr lIns="19050" tIns="19050" rIns="19050" bIns="19050" anchor="ct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Helvetica Light" charset="0"/>
              <a:ea typeface="Helvetica Light" charset="0"/>
              <a:cs typeface="Helvetica Light" charset="0"/>
              <a:sym typeface="Helvetica Light" charset="0"/>
            </a:endParaRPr>
          </a:p>
        </p:txBody>
      </p:sp>
      <p:sp>
        <p:nvSpPr>
          <p:cNvPr id="18" name="Rectangle 17">
            <a:extLst>
              <a:ext uri="{FF2B5EF4-FFF2-40B4-BE49-F238E27FC236}">
                <a16:creationId xmlns:a16="http://schemas.microsoft.com/office/drawing/2014/main" id="{72BE5EA4-193B-47BE-ABF6-0ACDF822310F}"/>
              </a:ext>
            </a:extLst>
          </p:cNvPr>
          <p:cNvSpPr/>
          <p:nvPr/>
        </p:nvSpPr>
        <p:spPr>
          <a:xfrm>
            <a:off x="952915" y="2306618"/>
            <a:ext cx="5292000" cy="707886"/>
          </a:xfrm>
          <a:prstGeom prst="rect">
            <a:avLst/>
          </a:prstGeom>
        </p:spPr>
        <p:txBody>
          <a:bodyPr wrap="square"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dirty="0">
                <a:ln>
                  <a:noFill/>
                </a:ln>
                <a:effectLst/>
                <a:uLnTx/>
                <a:uFillTx/>
                <a:latin typeface="+mj-lt"/>
                <a:ea typeface="+mn-ea"/>
                <a:cs typeface="+mn-cs"/>
              </a:rPr>
              <a:t>Expanding the energy system</a:t>
            </a:r>
          </a:p>
          <a:p>
            <a:pPr marL="0" indent="0">
              <a:spcAft>
                <a:spcPts val="600"/>
              </a:spcAft>
              <a:buFont typeface="Arial" panose="020B0604020202020204" pitchFamily="34" charset="0"/>
              <a:buNone/>
            </a:pPr>
            <a:r>
              <a:rPr lang="en-GB" sz="1200" b="1" dirty="0">
                <a:latin typeface="+mj-lt"/>
                <a:cs typeface="Times New Roman" panose="02020603050405020304" pitchFamily="18" charset="0"/>
              </a:rPr>
              <a:t>Integrating technology solutions with assets such as hydrogen, CCS</a:t>
            </a:r>
            <a:r>
              <a:rPr lang="en-GB" sz="1200" b="1" baseline="30000" dirty="0">
                <a:latin typeface="+mj-lt"/>
                <a:cs typeface="Times New Roman" panose="02020603050405020304" pitchFamily="18" charset="0"/>
              </a:rPr>
              <a:t>(1)</a:t>
            </a:r>
            <a:r>
              <a:rPr lang="en-GB" sz="1200" b="1" dirty="0">
                <a:latin typeface="+mj-lt"/>
                <a:cs typeface="Times New Roman" panose="02020603050405020304" pitchFamily="18" charset="0"/>
              </a:rPr>
              <a:t>, wind, and microgrids </a:t>
            </a:r>
            <a:r>
              <a:rPr lang="en-GB" sz="1200" dirty="0">
                <a:latin typeface="+mj-lt"/>
                <a:cs typeface="Times New Roman" panose="02020603050405020304" pitchFamily="18" charset="0"/>
              </a:rPr>
              <a:t>is likely to be one standard part of an investment </a:t>
            </a:r>
          </a:p>
        </p:txBody>
      </p:sp>
      <p:pic>
        <p:nvPicPr>
          <p:cNvPr id="44" name="Picture 43" descr="Shape&#10;&#10;Description automatically generated with low confidence">
            <a:extLst>
              <a:ext uri="{FF2B5EF4-FFF2-40B4-BE49-F238E27FC236}">
                <a16:creationId xmlns:a16="http://schemas.microsoft.com/office/drawing/2014/main" id="{AEBD8294-FBAC-486F-8565-72921C758CD9}"/>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Lst>
          </a:blip>
          <a:stretch>
            <a:fillRect/>
          </a:stretch>
        </p:blipFill>
        <p:spPr>
          <a:xfrm>
            <a:off x="389374" y="2467470"/>
            <a:ext cx="386182" cy="386182"/>
          </a:xfrm>
          <a:prstGeom prst="rect">
            <a:avLst/>
          </a:prstGeom>
        </p:spPr>
      </p:pic>
      <p:pic>
        <p:nvPicPr>
          <p:cNvPr id="37" name="Graphic 36" descr="Open hand with plant outline">
            <a:extLst>
              <a:ext uri="{FF2B5EF4-FFF2-40B4-BE49-F238E27FC236}">
                <a16:creationId xmlns:a16="http://schemas.microsoft.com/office/drawing/2014/main" id="{976AC86F-E60C-49CA-91A5-62DB1F3A21C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26130" y="1382730"/>
            <a:ext cx="511176" cy="511176"/>
          </a:xfrm>
          <a:prstGeom prst="rect">
            <a:avLst/>
          </a:prstGeom>
        </p:spPr>
      </p:pic>
      <p:pic>
        <p:nvPicPr>
          <p:cNvPr id="39" name="Graphic 38" descr="Cloud Computing outline">
            <a:extLst>
              <a:ext uri="{FF2B5EF4-FFF2-40B4-BE49-F238E27FC236}">
                <a16:creationId xmlns:a16="http://schemas.microsoft.com/office/drawing/2014/main" id="{2A55E874-A52B-4239-8234-91B800458E4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44980" y="3463434"/>
            <a:ext cx="474970" cy="474970"/>
          </a:xfrm>
          <a:prstGeom prst="rect">
            <a:avLst/>
          </a:prstGeom>
        </p:spPr>
      </p:pic>
      <p:pic>
        <p:nvPicPr>
          <p:cNvPr id="43" name="Graphic 42" descr="Online meeting outline">
            <a:extLst>
              <a:ext uri="{FF2B5EF4-FFF2-40B4-BE49-F238E27FC236}">
                <a16:creationId xmlns:a16="http://schemas.microsoft.com/office/drawing/2014/main" id="{871629EE-E8B2-4394-A2C2-D5BA3E3C198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367834" y="4494361"/>
            <a:ext cx="429172" cy="429172"/>
          </a:xfrm>
          <a:prstGeom prst="rect">
            <a:avLst/>
          </a:prstGeom>
        </p:spPr>
      </p:pic>
      <p:pic>
        <p:nvPicPr>
          <p:cNvPr id="7" name="Picture 6">
            <a:extLst>
              <a:ext uri="{FF2B5EF4-FFF2-40B4-BE49-F238E27FC236}">
                <a16:creationId xmlns:a16="http://schemas.microsoft.com/office/drawing/2014/main" id="{D2A56C50-5B67-4FAE-8BB7-66E3B7DEDC54}"/>
              </a:ext>
            </a:extLst>
          </p:cNvPr>
          <p:cNvPicPr>
            <a:picLocks noChangeAspect="1"/>
          </p:cNvPicPr>
          <p:nvPr/>
        </p:nvPicPr>
        <p:blipFill rotWithShape="1">
          <a:blip r:embed="rId16"/>
          <a:srcRect l="8629"/>
          <a:stretch/>
        </p:blipFill>
        <p:spPr>
          <a:xfrm>
            <a:off x="6434824" y="1544804"/>
            <a:ext cx="5637153" cy="4310989"/>
          </a:xfrm>
          <a:prstGeom prst="roundRect">
            <a:avLst>
              <a:gd name="adj" fmla="val 4239"/>
            </a:avLst>
          </a:prstGeom>
          <a:solidFill>
            <a:srgbClr val="FFFFFF">
              <a:shade val="85000"/>
            </a:srgbClr>
          </a:solidFill>
          <a:ln>
            <a:noFill/>
          </a:ln>
          <a:effectLst/>
        </p:spPr>
      </p:pic>
    </p:spTree>
    <p:extLst>
      <p:ext uri="{BB962C8B-B14F-4D97-AF65-F5344CB8AC3E}">
        <p14:creationId xmlns:p14="http://schemas.microsoft.com/office/powerpoint/2010/main" val="25250747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24EAEAD-20AA-4763-A493-811475334A6D}"/>
              </a:ext>
            </a:extLst>
          </p:cNvPr>
          <p:cNvSpPr>
            <a:spLocks noGrp="1"/>
          </p:cNvSpPr>
          <p:nvPr>
            <p:ph sz="half" idx="1"/>
          </p:nvPr>
        </p:nvSpPr>
        <p:spPr/>
        <p:txBody>
          <a:bodyPr/>
          <a:lstStyle/>
          <a:p>
            <a:endParaRPr lang="en-US" dirty="0"/>
          </a:p>
        </p:txBody>
      </p:sp>
      <p:sp>
        <p:nvSpPr>
          <p:cNvPr id="5" name="Slide Number Placeholder 4">
            <a:extLst>
              <a:ext uri="{FF2B5EF4-FFF2-40B4-BE49-F238E27FC236}">
                <a16:creationId xmlns:a16="http://schemas.microsoft.com/office/drawing/2014/main" id="{3E2BD6A4-4B00-4C5A-83FB-BAA7EB1C1DBD}"/>
              </a:ext>
            </a:extLst>
          </p:cNvPr>
          <p:cNvSpPr>
            <a:spLocks noGrp="1"/>
          </p:cNvSpPr>
          <p:nvPr>
            <p:ph type="sldNum" sz="quarter" idx="18"/>
          </p:nvPr>
        </p:nvSpPr>
        <p:spPr/>
        <p:txBody>
          <a:bodyPr/>
          <a:lstStyle/>
          <a:p>
            <a:fld id="{7A3F00B2-786C-401B-9EB3-42A9D0DD4A9F}" type="slidenum">
              <a:rPr lang="nb-NO" smtClean="0"/>
              <a:pPr/>
              <a:t>21</a:t>
            </a:fld>
            <a:endParaRPr lang="nb-NO"/>
          </a:p>
        </p:txBody>
      </p:sp>
      <p:pic>
        <p:nvPicPr>
          <p:cNvPr id="6" name="Content Placeholder 8">
            <a:extLst>
              <a:ext uri="{FF2B5EF4-FFF2-40B4-BE49-F238E27FC236}">
                <a16:creationId xmlns:a16="http://schemas.microsoft.com/office/drawing/2014/main" id="{3B445F8B-11B9-458F-880D-D5948F0FBED1}"/>
              </a:ext>
            </a:extLst>
          </p:cNvPr>
          <p:cNvPicPr>
            <a:picLocks noChangeAspect="1"/>
          </p:cNvPicPr>
          <p:nvPr/>
        </p:nvPicPr>
        <p:blipFill rotWithShape="1">
          <a:blip r:embed="rId3">
            <a:extLst>
              <a:ext uri="{28A0092B-C50C-407E-A947-70E740481C1C}">
                <a14:useLocalDpi xmlns:a14="http://schemas.microsoft.com/office/drawing/2010/main" val="0"/>
              </a:ext>
            </a:extLst>
          </a:blip>
          <a:srcRect l="404" t="20229" r="-404" b="12260"/>
          <a:stretch/>
        </p:blipFill>
        <p:spPr>
          <a:xfrm>
            <a:off x="-50442" y="1555666"/>
            <a:ext cx="12344400" cy="4687910"/>
          </a:xfrm>
          <a:prstGeom prst="rect">
            <a:avLst/>
          </a:prstGeom>
          <a:noFill/>
        </p:spPr>
      </p:pic>
      <p:sp>
        <p:nvSpPr>
          <p:cNvPr id="8" name="TextBox 7">
            <a:extLst>
              <a:ext uri="{FF2B5EF4-FFF2-40B4-BE49-F238E27FC236}">
                <a16:creationId xmlns:a16="http://schemas.microsoft.com/office/drawing/2014/main" id="{C0E3B862-48C6-473C-B44A-6746D318265F}"/>
              </a:ext>
            </a:extLst>
          </p:cNvPr>
          <p:cNvSpPr txBox="1"/>
          <p:nvPr/>
        </p:nvSpPr>
        <p:spPr>
          <a:xfrm>
            <a:off x="133563" y="2383604"/>
            <a:ext cx="5756953" cy="1323439"/>
          </a:xfrm>
          <a:prstGeom prst="rect">
            <a:avLst/>
          </a:prstGeom>
          <a:noFill/>
        </p:spPr>
        <p:txBody>
          <a:bodyPr wrap="square" rtlCol="0">
            <a:spAutoFit/>
          </a:bodyPr>
          <a:lstStyle/>
          <a:p>
            <a:r>
              <a:rPr lang="en-US" sz="2000" b="1" i="1" strike="sngStrike" dirty="0">
                <a:solidFill>
                  <a:schemeClr val="accent6">
                    <a:lumMod val="50000"/>
                  </a:schemeClr>
                </a:solidFill>
              </a:rPr>
              <a:t>What If you could…</a:t>
            </a:r>
          </a:p>
          <a:p>
            <a:pPr marL="342900" indent="-342900">
              <a:buFont typeface="Wingdings" panose="05000000000000000000" pitchFamily="2" charset="2"/>
              <a:buChar char="§"/>
            </a:pPr>
            <a:r>
              <a:rPr lang="en-US" sz="2000" b="1" dirty="0">
                <a:solidFill>
                  <a:schemeClr val="bg1"/>
                </a:solidFill>
              </a:rPr>
              <a:t>operate your assets more sustainably and safely</a:t>
            </a:r>
          </a:p>
          <a:p>
            <a:pPr marL="342900" indent="-342900">
              <a:buFont typeface="Wingdings" panose="05000000000000000000" pitchFamily="2" charset="2"/>
              <a:buChar char="§"/>
            </a:pPr>
            <a:r>
              <a:rPr lang="en-US" sz="2000" b="1" dirty="0">
                <a:solidFill>
                  <a:schemeClr val="bg1"/>
                </a:solidFill>
              </a:rPr>
              <a:t>attract and retaining talent</a:t>
            </a:r>
          </a:p>
          <a:p>
            <a:pPr marL="342900" indent="-342900">
              <a:buFont typeface="Wingdings" panose="05000000000000000000" pitchFamily="2" charset="2"/>
              <a:buChar char="§"/>
            </a:pPr>
            <a:r>
              <a:rPr lang="en-US" sz="2000" b="1" dirty="0">
                <a:solidFill>
                  <a:schemeClr val="bg1"/>
                </a:solidFill>
              </a:rPr>
              <a:t>reduce your OPEX</a:t>
            </a:r>
          </a:p>
        </p:txBody>
      </p:sp>
    </p:spTree>
    <p:extLst>
      <p:ext uri="{BB962C8B-B14F-4D97-AF65-F5344CB8AC3E}">
        <p14:creationId xmlns:p14="http://schemas.microsoft.com/office/powerpoint/2010/main" val="25406067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7087F92-ABD2-45A2-99D6-0404AC5C894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6" imgW="353" imgH="353" progId="TCLayout.ActiveDocument.1">
                  <p:embed/>
                </p:oleObj>
              </mc:Choice>
              <mc:Fallback>
                <p:oleObj name="think-cell Slide" r:id="rId6" imgW="353" imgH="353" progId="TCLayout.ActiveDocument.1">
                  <p:embed/>
                  <p:pic>
                    <p:nvPicPr>
                      <p:cNvPr id="9" name="Object 8" hidden="1">
                        <a:extLst>
                          <a:ext uri="{FF2B5EF4-FFF2-40B4-BE49-F238E27FC236}">
                            <a16:creationId xmlns:a16="http://schemas.microsoft.com/office/drawing/2014/main" id="{47087F92-ABD2-45A2-99D6-0404AC5C894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10F1190-5559-43FE-81FB-3CF6B5236D7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nb-NO" sz="3200" b="1">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Slide Number Placeholder 1"/>
          <p:cNvSpPr>
            <a:spLocks noGrp="1"/>
          </p:cNvSpPr>
          <p:nvPr>
            <p:ph type="sldNum" sz="quarter" idx="18"/>
          </p:nvPr>
        </p:nvSpPr>
        <p:spPr/>
        <p:txBody>
          <a:bodyPr/>
          <a:lstStyle/>
          <a:p>
            <a:pPr defTabSz="228594"/>
            <a:fld id="{7A3F00B2-786C-401B-9EB3-42A9D0DD4A9F}" type="slidenum">
              <a:rPr lang="nb-NO">
                <a:latin typeface="Calibri Light"/>
              </a:rPr>
              <a:pPr defTabSz="228594"/>
              <a:t>22</a:t>
            </a:fld>
            <a:endParaRPr lang="nb-NO">
              <a:latin typeface="Calibri Light"/>
            </a:endParaRPr>
          </a:p>
        </p:txBody>
      </p:sp>
      <p:sp>
        <p:nvSpPr>
          <p:cNvPr id="3" name="Title 2"/>
          <p:cNvSpPr>
            <a:spLocks noGrp="1"/>
          </p:cNvSpPr>
          <p:nvPr>
            <p:ph type="title"/>
          </p:nvPr>
        </p:nvSpPr>
        <p:spPr>
          <a:xfrm>
            <a:off x="437163" y="2826764"/>
            <a:ext cx="2727158" cy="1421928"/>
          </a:xfrm>
        </p:spPr>
        <p:txBody>
          <a:bodyPr/>
          <a:lstStyle/>
          <a:p>
            <a:r>
              <a:rPr lang="nb-NO" sz="3200" dirty="0">
                <a:solidFill>
                  <a:schemeClr val="accent1"/>
                </a:solidFill>
                <a:latin typeface="+mj-lt"/>
              </a:rPr>
              <a:t>We are Kongsberg Digital</a:t>
            </a:r>
            <a:endParaRPr lang="nb-NO" sz="3200" dirty="0">
              <a:solidFill>
                <a:schemeClr val="accent1"/>
              </a:solidFill>
            </a:endParaRPr>
          </a:p>
        </p:txBody>
      </p:sp>
      <p:sp>
        <p:nvSpPr>
          <p:cNvPr id="5" name="Content Placeholder 4"/>
          <p:cNvSpPr>
            <a:spLocks noGrp="1"/>
          </p:cNvSpPr>
          <p:nvPr>
            <p:ph sz="half" idx="20"/>
          </p:nvPr>
        </p:nvSpPr>
        <p:spPr/>
        <p:txBody>
          <a:bodyPr vert="horz" lIns="180000" tIns="180000" rIns="180000" bIns="120000" rtlCol="0" anchor="t" anchorCtr="0">
            <a:noAutofit/>
          </a:bodyPr>
          <a:lstStyle/>
          <a:p>
            <a:pPr marL="0" indent="0">
              <a:buNone/>
            </a:pPr>
            <a:r>
              <a:rPr lang="nb-NO" sz="6000">
                <a:solidFill>
                  <a:schemeClr val="accent1"/>
                </a:solidFill>
              </a:rPr>
              <a:t>6</a:t>
            </a:r>
            <a:br>
              <a:rPr lang="nb-NO" sz="6000">
                <a:solidFill>
                  <a:schemeClr val="accent1"/>
                </a:solidFill>
              </a:rPr>
            </a:br>
            <a:r>
              <a:rPr lang="nb-NO" b="1">
                <a:solidFill>
                  <a:schemeClr val="accent1"/>
                </a:solidFill>
              </a:rPr>
              <a:t>COUNTRIES</a:t>
            </a:r>
          </a:p>
          <a:p>
            <a:pPr marL="0" indent="0">
              <a:buNone/>
            </a:pPr>
            <a:endParaRPr lang="nb-NO" b="1">
              <a:solidFill>
                <a:schemeClr val="accent1"/>
              </a:solidFill>
            </a:endParaRPr>
          </a:p>
          <a:p>
            <a:pPr marL="0" indent="0">
              <a:buNone/>
            </a:pPr>
            <a:endParaRPr lang="nb-NO">
              <a:solidFill>
                <a:schemeClr val="accent1"/>
              </a:solidFill>
            </a:endParaRPr>
          </a:p>
        </p:txBody>
      </p:sp>
      <p:sp>
        <p:nvSpPr>
          <p:cNvPr id="6" name="Content Placeholder 5"/>
          <p:cNvSpPr>
            <a:spLocks noGrp="1"/>
          </p:cNvSpPr>
          <p:nvPr>
            <p:ph sz="half" idx="21"/>
          </p:nvPr>
        </p:nvSpPr>
        <p:spPr>
          <a:solidFill>
            <a:schemeClr val="accent1"/>
          </a:solidFill>
        </p:spPr>
        <p:txBody>
          <a:bodyPr vert="horz" lIns="180000" tIns="120000" rIns="180000" bIns="180000" rtlCol="0" anchor="b" anchorCtr="0">
            <a:noAutofit/>
          </a:bodyPr>
          <a:lstStyle/>
          <a:p>
            <a:pPr marL="0" indent="0">
              <a:buNone/>
            </a:pPr>
            <a:r>
              <a:rPr lang="nb-NO" sz="6000">
                <a:solidFill>
                  <a:schemeClr val="accent2"/>
                </a:solidFill>
              </a:rPr>
              <a:t>3</a:t>
            </a:r>
            <a:br>
              <a:rPr lang="nb-NO" sz="6000">
                <a:solidFill>
                  <a:schemeClr val="accent2"/>
                </a:solidFill>
              </a:rPr>
            </a:br>
            <a:r>
              <a:rPr lang="nb-NO">
                <a:solidFill>
                  <a:schemeClr val="accent2"/>
                </a:solidFill>
              </a:rPr>
              <a:t>Key Product Areas</a:t>
            </a:r>
            <a:endParaRPr lang="nb-NO" b="1">
              <a:solidFill>
                <a:schemeClr val="accent2"/>
              </a:solidFill>
            </a:endParaRPr>
          </a:p>
        </p:txBody>
      </p:sp>
      <p:sp>
        <p:nvSpPr>
          <p:cNvPr id="7" name="Content Placeholder 6"/>
          <p:cNvSpPr>
            <a:spLocks noGrp="1"/>
          </p:cNvSpPr>
          <p:nvPr>
            <p:ph sz="half" idx="22"/>
          </p:nvPr>
        </p:nvSpPr>
        <p:spPr>
          <a:solidFill>
            <a:schemeClr val="accent1"/>
          </a:solidFill>
        </p:spPr>
        <p:txBody>
          <a:bodyPr vert="horz" lIns="180000" tIns="180000" rIns="192000" bIns="120000" rtlCol="0" anchor="t" anchorCtr="0">
            <a:noAutofit/>
          </a:bodyPr>
          <a:lstStyle/>
          <a:p>
            <a:pPr marL="0" indent="0">
              <a:buNone/>
            </a:pPr>
            <a:r>
              <a:rPr lang="nb-NO" sz="4800" dirty="0">
                <a:solidFill>
                  <a:schemeClr val="accent2"/>
                </a:solidFill>
              </a:rPr>
              <a:t>800+ </a:t>
            </a:r>
            <a:br>
              <a:rPr lang="nb-NO" sz="6000" dirty="0">
                <a:solidFill>
                  <a:schemeClr val="accent2"/>
                </a:solidFill>
              </a:rPr>
            </a:br>
            <a:r>
              <a:rPr lang="nb-NO" b="1" dirty="0">
                <a:solidFill>
                  <a:schemeClr val="accent2"/>
                </a:solidFill>
              </a:rPr>
              <a:t>EMPLOYEES</a:t>
            </a:r>
          </a:p>
        </p:txBody>
      </p:sp>
      <p:sp>
        <p:nvSpPr>
          <p:cNvPr id="8" name="Content Placeholder 7"/>
          <p:cNvSpPr>
            <a:spLocks noGrp="1"/>
          </p:cNvSpPr>
          <p:nvPr>
            <p:ph sz="half" idx="23"/>
          </p:nvPr>
        </p:nvSpPr>
        <p:spPr/>
        <p:txBody>
          <a:bodyPr vert="horz" lIns="180000" tIns="120000" rIns="192000" bIns="180000" rtlCol="0" anchor="b" anchorCtr="0">
            <a:noAutofit/>
          </a:bodyPr>
          <a:lstStyle/>
          <a:p>
            <a:pPr marL="0" indent="0">
              <a:buNone/>
            </a:pPr>
            <a:r>
              <a:rPr lang="nb-NO" sz="6000"/>
              <a:t>32 </a:t>
            </a:r>
            <a:br>
              <a:rPr lang="nb-NO" sz="6000" dirty="0"/>
            </a:br>
            <a:r>
              <a:rPr lang="nb-NO" b="1" dirty="0"/>
              <a:t>Nationalities</a:t>
            </a:r>
          </a:p>
        </p:txBody>
      </p:sp>
      <p:sp>
        <p:nvSpPr>
          <p:cNvPr id="18" name="Text Placeholder 17">
            <a:extLst>
              <a:ext uri="{FF2B5EF4-FFF2-40B4-BE49-F238E27FC236}">
                <a16:creationId xmlns:a16="http://schemas.microsoft.com/office/drawing/2014/main" id="{16920C10-0C28-4E34-9F8D-2BD682FC6A22}"/>
              </a:ext>
            </a:extLst>
          </p:cNvPr>
          <p:cNvSpPr>
            <a:spLocks noGrp="1"/>
          </p:cNvSpPr>
          <p:nvPr>
            <p:ph type="body" sz="quarter" idx="30"/>
          </p:nvPr>
        </p:nvSpPr>
        <p:spPr/>
        <p:txBody>
          <a:bodyPr/>
          <a:lstStyle/>
          <a:p>
            <a:endParaRPr lang="en-US" dirty="0"/>
          </a:p>
        </p:txBody>
      </p:sp>
      <p:sp>
        <p:nvSpPr>
          <p:cNvPr id="17" name="Text Placeholder 16">
            <a:extLst>
              <a:ext uri="{FF2B5EF4-FFF2-40B4-BE49-F238E27FC236}">
                <a16:creationId xmlns:a16="http://schemas.microsoft.com/office/drawing/2014/main" id="{E3699919-5B05-483A-AD27-869FFABF2D33}"/>
              </a:ext>
            </a:extLst>
          </p:cNvPr>
          <p:cNvSpPr>
            <a:spLocks noGrp="1"/>
          </p:cNvSpPr>
          <p:nvPr>
            <p:ph type="body" sz="quarter" idx="28"/>
          </p:nvPr>
        </p:nvSpPr>
        <p:spPr>
          <a:solidFill>
            <a:schemeClr val="accent3"/>
          </a:solidFill>
        </p:spPr>
        <p:txBody>
          <a:bodyPr/>
          <a:lstStyle/>
          <a:p>
            <a:endParaRPr lang="en-US" dirty="0"/>
          </a:p>
        </p:txBody>
      </p:sp>
      <p:sp>
        <p:nvSpPr>
          <p:cNvPr id="19" name="Content Placeholder 18">
            <a:extLst>
              <a:ext uri="{FF2B5EF4-FFF2-40B4-BE49-F238E27FC236}">
                <a16:creationId xmlns:a16="http://schemas.microsoft.com/office/drawing/2014/main" id="{D96ECB9C-298A-4D57-B7C6-8D1383C090D8}"/>
              </a:ext>
            </a:extLst>
          </p:cNvPr>
          <p:cNvSpPr>
            <a:spLocks noGrp="1"/>
          </p:cNvSpPr>
          <p:nvPr>
            <p:ph sz="half" idx="32"/>
          </p:nvPr>
        </p:nvSpPr>
        <p:spPr/>
        <p:txBody>
          <a:bodyPr/>
          <a:lstStyle/>
          <a:p>
            <a:endParaRPr lang="en-US" dirty="0"/>
          </a:p>
        </p:txBody>
      </p:sp>
      <p:sp>
        <p:nvSpPr>
          <p:cNvPr id="20" name="Content Placeholder 19">
            <a:extLst>
              <a:ext uri="{FF2B5EF4-FFF2-40B4-BE49-F238E27FC236}">
                <a16:creationId xmlns:a16="http://schemas.microsoft.com/office/drawing/2014/main" id="{5099D703-227D-40D3-9B02-264C0B7FFD72}"/>
              </a:ext>
            </a:extLst>
          </p:cNvPr>
          <p:cNvSpPr>
            <a:spLocks noGrp="1"/>
          </p:cNvSpPr>
          <p:nvPr>
            <p:ph sz="quarter" idx="33"/>
          </p:nvPr>
        </p:nvSpPr>
        <p:spPr/>
        <p:txBody>
          <a:bodyPr/>
          <a:lstStyle/>
          <a:p>
            <a:r>
              <a:rPr lang="nb-NO" dirty="0"/>
              <a:t>2022</a:t>
            </a:r>
            <a:endParaRPr lang="en-US" dirty="0"/>
          </a:p>
        </p:txBody>
      </p:sp>
      <p:pic>
        <p:nvPicPr>
          <p:cNvPr id="31" name="Picture 30">
            <a:extLst>
              <a:ext uri="{FF2B5EF4-FFF2-40B4-BE49-F238E27FC236}">
                <a16:creationId xmlns:a16="http://schemas.microsoft.com/office/drawing/2014/main" id="{C58755D6-0D40-4EB7-9D37-43E689A3328D}"/>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l="41167" r="26220"/>
          <a:stretch/>
        </p:blipFill>
        <p:spPr>
          <a:xfrm flipH="1">
            <a:off x="3411576" y="750181"/>
            <a:ext cx="2613667" cy="5357635"/>
          </a:xfrm>
          <a:prstGeom prst="rect">
            <a:avLst/>
          </a:prstGeom>
        </p:spPr>
      </p:pic>
    </p:spTree>
    <p:extLst>
      <p:ext uri="{BB962C8B-B14F-4D97-AF65-F5344CB8AC3E}">
        <p14:creationId xmlns:p14="http://schemas.microsoft.com/office/powerpoint/2010/main" val="30775708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B1EBE88-7336-481E-9FF4-1A070173DE2E}"/>
              </a:ext>
            </a:extLst>
          </p:cNvPr>
          <p:cNvSpPr>
            <a:spLocks noGrp="1"/>
          </p:cNvSpPr>
          <p:nvPr>
            <p:ph type="sldNum" sz="quarter" idx="18"/>
          </p:nvPr>
        </p:nvSpPr>
        <p:spPr/>
        <p:txBody>
          <a:bodyPr/>
          <a:lstStyle/>
          <a:p>
            <a:fld id="{7A3F00B2-786C-401B-9EB3-42A9D0DD4A9F}" type="slidenum">
              <a:rPr lang="nb-NO" smtClean="0"/>
              <a:pPr/>
              <a:t>3</a:t>
            </a:fld>
            <a:endParaRPr lang="nb-NO"/>
          </a:p>
        </p:txBody>
      </p:sp>
      <p:pic>
        <p:nvPicPr>
          <p:cNvPr id="6" name="Content Placeholder 8">
            <a:extLst>
              <a:ext uri="{FF2B5EF4-FFF2-40B4-BE49-F238E27FC236}">
                <a16:creationId xmlns:a16="http://schemas.microsoft.com/office/drawing/2014/main" id="{C7B9DB54-5E7C-4F33-A16F-171B191AD323}"/>
              </a:ext>
            </a:extLst>
          </p:cNvPr>
          <p:cNvPicPr>
            <a:picLocks noChangeAspect="1"/>
          </p:cNvPicPr>
          <p:nvPr/>
        </p:nvPicPr>
        <p:blipFill rotWithShape="1">
          <a:blip r:embed="rId3">
            <a:extLst>
              <a:ext uri="{28A0092B-C50C-407E-A947-70E740481C1C}">
                <a14:useLocalDpi xmlns:a14="http://schemas.microsoft.com/office/drawing/2010/main" val="0"/>
              </a:ext>
            </a:extLst>
          </a:blip>
          <a:srcRect l="404" t="20229" r="-404" b="12260"/>
          <a:stretch/>
        </p:blipFill>
        <p:spPr>
          <a:xfrm>
            <a:off x="-50442" y="1555666"/>
            <a:ext cx="12344400" cy="4687910"/>
          </a:xfrm>
          <a:prstGeom prst="rect">
            <a:avLst/>
          </a:prstGeom>
          <a:noFill/>
        </p:spPr>
      </p:pic>
      <p:sp>
        <p:nvSpPr>
          <p:cNvPr id="8" name="Title 7">
            <a:extLst>
              <a:ext uri="{FF2B5EF4-FFF2-40B4-BE49-F238E27FC236}">
                <a16:creationId xmlns:a16="http://schemas.microsoft.com/office/drawing/2014/main" id="{11774D9B-8BDE-4B3A-99AD-EA22465549D4}"/>
              </a:ext>
            </a:extLst>
          </p:cNvPr>
          <p:cNvSpPr>
            <a:spLocks noGrp="1"/>
          </p:cNvSpPr>
          <p:nvPr>
            <p:ph type="title"/>
          </p:nvPr>
        </p:nvSpPr>
        <p:spPr>
          <a:xfrm>
            <a:off x="2034805" y="691698"/>
            <a:ext cx="8106895" cy="1339213"/>
          </a:xfrm>
        </p:spPr>
        <p:txBody>
          <a:bodyPr/>
          <a:lstStyle/>
          <a:p>
            <a:r>
              <a:rPr lang="en-US" dirty="0"/>
              <a:t>What can digital twins do to improve performance on existing upstream assets?</a:t>
            </a:r>
            <a:br>
              <a:rPr lang="en-US" dirty="0"/>
            </a:br>
            <a:endParaRPr lang="en-US" dirty="0"/>
          </a:p>
        </p:txBody>
      </p:sp>
      <p:sp>
        <p:nvSpPr>
          <p:cNvPr id="10" name="TextBox 9">
            <a:extLst>
              <a:ext uri="{FF2B5EF4-FFF2-40B4-BE49-F238E27FC236}">
                <a16:creationId xmlns:a16="http://schemas.microsoft.com/office/drawing/2014/main" id="{82A10D45-7426-4451-A8F5-530118841205}"/>
              </a:ext>
            </a:extLst>
          </p:cNvPr>
          <p:cNvSpPr txBox="1"/>
          <p:nvPr/>
        </p:nvSpPr>
        <p:spPr>
          <a:xfrm>
            <a:off x="528034" y="4379004"/>
            <a:ext cx="4314422" cy="923330"/>
          </a:xfrm>
          <a:prstGeom prst="rect">
            <a:avLst/>
          </a:prstGeom>
          <a:noFill/>
        </p:spPr>
        <p:txBody>
          <a:bodyPr wrap="square" rtlCol="0">
            <a:spAutoFit/>
          </a:bodyPr>
          <a:lstStyle/>
          <a:p>
            <a:r>
              <a:rPr lang="en-US" b="1" dirty="0">
                <a:solidFill>
                  <a:schemeClr val="bg1"/>
                </a:solidFill>
              </a:rPr>
              <a:t>Haavard Oestensen</a:t>
            </a:r>
          </a:p>
          <a:p>
            <a:r>
              <a:rPr lang="en-US" dirty="0">
                <a:solidFill>
                  <a:schemeClr val="bg1"/>
                </a:solidFill>
              </a:rPr>
              <a:t>Vice President of Growth</a:t>
            </a:r>
          </a:p>
          <a:p>
            <a:r>
              <a:rPr lang="en-US" dirty="0">
                <a:solidFill>
                  <a:schemeClr val="bg1"/>
                </a:solidFill>
              </a:rPr>
              <a:t>Kongsberg Digital</a:t>
            </a:r>
          </a:p>
        </p:txBody>
      </p:sp>
    </p:spTree>
    <p:extLst>
      <p:ext uri="{BB962C8B-B14F-4D97-AF65-F5344CB8AC3E}">
        <p14:creationId xmlns:p14="http://schemas.microsoft.com/office/powerpoint/2010/main" val="30246809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38">
            <a:extLst>
              <a:ext uri="{FF2B5EF4-FFF2-40B4-BE49-F238E27FC236}">
                <a16:creationId xmlns:a16="http://schemas.microsoft.com/office/drawing/2014/main" id="{9F59B506-27EC-41FA-8AAA-501BA1B852FB}"/>
              </a:ext>
            </a:extLst>
          </p:cNvPr>
          <p:cNvPicPr>
            <a:picLocks noChangeAspect="1"/>
          </p:cNvPicPr>
          <p:nvPr/>
        </p:nvPicPr>
        <p:blipFill rotWithShape="1">
          <a:blip r:embed="rId3">
            <a:duotone>
              <a:schemeClr val="bg2">
                <a:shade val="45000"/>
                <a:satMod val="135000"/>
              </a:schemeClr>
              <a:prstClr val="white"/>
            </a:duotone>
            <a:extLst>
              <a:ext uri="{28A0092B-C50C-407E-A947-70E740481C1C}">
                <a14:useLocalDpi xmlns:a14="http://schemas.microsoft.com/office/drawing/2010/main" val="0"/>
              </a:ext>
            </a:extLst>
          </a:blip>
          <a:srcRect l="4974" t="37093" r="3527" b="11470"/>
          <a:stretch/>
        </p:blipFill>
        <p:spPr>
          <a:xfrm>
            <a:off x="-1" y="1615284"/>
            <a:ext cx="12192001" cy="4551018"/>
          </a:xfrm>
          <a:prstGeom prst="rect">
            <a:avLst/>
          </a:prstGeom>
        </p:spPr>
      </p:pic>
      <p:sp>
        <p:nvSpPr>
          <p:cNvPr id="10" name="Rectangle 9">
            <a:extLst>
              <a:ext uri="{FF2B5EF4-FFF2-40B4-BE49-F238E27FC236}">
                <a16:creationId xmlns:a16="http://schemas.microsoft.com/office/drawing/2014/main" id="{3699B3BC-1C89-4492-96D1-66A7285BE9F2}"/>
              </a:ext>
            </a:extLst>
          </p:cNvPr>
          <p:cNvSpPr/>
          <p:nvPr/>
        </p:nvSpPr>
        <p:spPr>
          <a:xfrm>
            <a:off x="7094360" y="2223683"/>
            <a:ext cx="4221339" cy="26034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5B2BF80B-9C71-407A-9990-3B158135DDF7}"/>
              </a:ext>
            </a:extLst>
          </p:cNvPr>
          <p:cNvSpPr/>
          <p:nvPr/>
        </p:nvSpPr>
        <p:spPr>
          <a:xfrm>
            <a:off x="7094361" y="1745925"/>
            <a:ext cx="4221338" cy="40404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Content Placeholder 8">
            <a:extLst>
              <a:ext uri="{FF2B5EF4-FFF2-40B4-BE49-F238E27FC236}">
                <a16:creationId xmlns:a16="http://schemas.microsoft.com/office/drawing/2014/main" id="{6E1E49D9-E8B0-4788-A8B0-63DD1945C109}"/>
              </a:ext>
            </a:extLst>
          </p:cNvPr>
          <p:cNvPicPr>
            <a:picLocks noGrp="1" noChangeAspect="1"/>
          </p:cNvPicPr>
          <p:nvPr>
            <p:ph sz="half" idx="1"/>
          </p:nvPr>
        </p:nvPicPr>
        <p:blipFill>
          <a:blip r:embed="rId4">
            <a:extLst>
              <a:ext uri="{28A0092B-C50C-407E-A947-70E740481C1C}">
                <a14:useLocalDpi xmlns:a14="http://schemas.microsoft.com/office/drawing/2010/main" val="0"/>
              </a:ext>
            </a:extLst>
          </a:blip>
          <a:stretch>
            <a:fillRect/>
          </a:stretch>
        </p:blipFill>
        <p:spPr>
          <a:xfrm>
            <a:off x="1471066" y="1748483"/>
            <a:ext cx="5473079" cy="3078607"/>
          </a:xfrm>
        </p:spPr>
      </p:pic>
      <p:sp>
        <p:nvSpPr>
          <p:cNvPr id="5" name="Slide Number Placeholder 4">
            <a:extLst>
              <a:ext uri="{FF2B5EF4-FFF2-40B4-BE49-F238E27FC236}">
                <a16:creationId xmlns:a16="http://schemas.microsoft.com/office/drawing/2014/main" id="{08EF9C25-C0E6-4861-B7E4-2723EF2BE588}"/>
              </a:ext>
            </a:extLst>
          </p:cNvPr>
          <p:cNvSpPr>
            <a:spLocks noGrp="1"/>
          </p:cNvSpPr>
          <p:nvPr>
            <p:ph type="sldNum" sz="quarter" idx="18"/>
          </p:nvPr>
        </p:nvSpPr>
        <p:spPr/>
        <p:txBody>
          <a:bodyPr/>
          <a:lstStyle/>
          <a:p>
            <a:fld id="{7A3F00B2-786C-401B-9EB3-42A9D0DD4A9F}" type="slidenum">
              <a:rPr lang="nb-NO" smtClean="0"/>
              <a:pPr/>
              <a:t>4</a:t>
            </a:fld>
            <a:endParaRPr lang="nb-NO"/>
          </a:p>
        </p:txBody>
      </p:sp>
      <p:sp>
        <p:nvSpPr>
          <p:cNvPr id="11" name="Rectangle 10">
            <a:extLst>
              <a:ext uri="{FF2B5EF4-FFF2-40B4-BE49-F238E27FC236}">
                <a16:creationId xmlns:a16="http://schemas.microsoft.com/office/drawing/2014/main" id="{A2DD11A7-83BF-4B22-8EBE-1952FD64D4F6}"/>
              </a:ext>
            </a:extLst>
          </p:cNvPr>
          <p:cNvSpPr/>
          <p:nvPr/>
        </p:nvSpPr>
        <p:spPr>
          <a:xfrm>
            <a:off x="3841420" y="4900800"/>
            <a:ext cx="7474280" cy="9830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i="1" dirty="0"/>
              <a:t>Integrating capabilities like </a:t>
            </a:r>
            <a:r>
              <a:rPr lang="en-US" sz="1400" b="1" i="1" dirty="0">
                <a:solidFill>
                  <a:srgbClr val="FFC000"/>
                </a:solidFill>
              </a:rPr>
              <a:t>digital collaboration</a:t>
            </a:r>
            <a:r>
              <a:rPr lang="en-US" sz="1400" b="1" i="1" dirty="0"/>
              <a:t>, </a:t>
            </a:r>
            <a:r>
              <a:rPr lang="en-US" sz="1400" b="1" i="1" dirty="0">
                <a:solidFill>
                  <a:srgbClr val="FFC000"/>
                </a:solidFill>
              </a:rPr>
              <a:t>integrated workflows</a:t>
            </a:r>
            <a:r>
              <a:rPr lang="en-US" sz="1400" b="1" i="1" dirty="0"/>
              <a:t> and </a:t>
            </a:r>
            <a:r>
              <a:rPr lang="en-US" sz="1400" b="1" i="1" dirty="0">
                <a:solidFill>
                  <a:srgbClr val="FFC000"/>
                </a:solidFill>
              </a:rPr>
              <a:t>scalable simulation and analytics</a:t>
            </a:r>
            <a:r>
              <a:rPr lang="en-US" sz="1400" b="1" i="1" dirty="0"/>
              <a:t> allow operators to increase operating efficiencies and lower costs in a greener, safer way.</a:t>
            </a:r>
          </a:p>
        </p:txBody>
      </p:sp>
      <p:sp>
        <p:nvSpPr>
          <p:cNvPr id="12" name="Title 1">
            <a:extLst>
              <a:ext uri="{FF2B5EF4-FFF2-40B4-BE49-F238E27FC236}">
                <a16:creationId xmlns:a16="http://schemas.microsoft.com/office/drawing/2014/main" id="{6399BE4A-0395-4660-980E-ADBC891FF72E}"/>
              </a:ext>
            </a:extLst>
          </p:cNvPr>
          <p:cNvSpPr>
            <a:spLocks noGrp="1"/>
          </p:cNvSpPr>
          <p:nvPr>
            <p:ph type="title"/>
          </p:nvPr>
        </p:nvSpPr>
        <p:spPr>
          <a:xfrm>
            <a:off x="2034805" y="691698"/>
            <a:ext cx="8106895" cy="507960"/>
          </a:xfrm>
        </p:spPr>
        <p:txBody>
          <a:bodyPr/>
          <a:lstStyle/>
          <a:p>
            <a:r>
              <a:rPr lang="en-US" dirty="0"/>
              <a:t>What are our options?</a:t>
            </a:r>
          </a:p>
        </p:txBody>
      </p:sp>
      <p:sp>
        <p:nvSpPr>
          <p:cNvPr id="14" name="TextBox 13">
            <a:extLst>
              <a:ext uri="{FF2B5EF4-FFF2-40B4-BE49-F238E27FC236}">
                <a16:creationId xmlns:a16="http://schemas.microsoft.com/office/drawing/2014/main" id="{465BA451-59A0-48B6-97FF-D8B57F2AEC98}"/>
              </a:ext>
            </a:extLst>
          </p:cNvPr>
          <p:cNvSpPr txBox="1"/>
          <p:nvPr/>
        </p:nvSpPr>
        <p:spPr>
          <a:xfrm>
            <a:off x="7140822" y="1783967"/>
            <a:ext cx="1052359" cy="307777"/>
          </a:xfrm>
          <a:prstGeom prst="rect">
            <a:avLst/>
          </a:prstGeom>
          <a:noFill/>
        </p:spPr>
        <p:txBody>
          <a:bodyPr wrap="square" rtlCol="0">
            <a:spAutoFit/>
          </a:bodyPr>
          <a:lstStyle/>
          <a:p>
            <a:r>
              <a:rPr lang="en-US" sz="1400" b="1" dirty="0">
                <a:solidFill>
                  <a:schemeClr val="bg1"/>
                </a:solidFill>
              </a:rPr>
              <a:t>Options</a:t>
            </a:r>
          </a:p>
        </p:txBody>
      </p:sp>
      <p:sp>
        <p:nvSpPr>
          <p:cNvPr id="15" name="TextBox 14">
            <a:extLst>
              <a:ext uri="{FF2B5EF4-FFF2-40B4-BE49-F238E27FC236}">
                <a16:creationId xmlns:a16="http://schemas.microsoft.com/office/drawing/2014/main" id="{1FB929B1-B2E5-4CDE-A10D-52070F602BA2}"/>
              </a:ext>
            </a:extLst>
          </p:cNvPr>
          <p:cNvSpPr txBox="1"/>
          <p:nvPr/>
        </p:nvSpPr>
        <p:spPr>
          <a:xfrm>
            <a:off x="9033438" y="1783967"/>
            <a:ext cx="1052359" cy="307777"/>
          </a:xfrm>
          <a:prstGeom prst="rect">
            <a:avLst/>
          </a:prstGeom>
          <a:noFill/>
        </p:spPr>
        <p:txBody>
          <a:bodyPr wrap="square" rtlCol="0">
            <a:spAutoFit/>
          </a:bodyPr>
          <a:lstStyle/>
          <a:p>
            <a:r>
              <a:rPr lang="en-US" sz="1400" b="1" dirty="0">
                <a:solidFill>
                  <a:schemeClr val="bg1"/>
                </a:solidFill>
              </a:rPr>
              <a:t>Return</a:t>
            </a:r>
          </a:p>
        </p:txBody>
      </p:sp>
      <p:sp>
        <p:nvSpPr>
          <p:cNvPr id="16" name="TextBox 15">
            <a:extLst>
              <a:ext uri="{FF2B5EF4-FFF2-40B4-BE49-F238E27FC236}">
                <a16:creationId xmlns:a16="http://schemas.microsoft.com/office/drawing/2014/main" id="{F8F7CF69-9D94-4ADE-BD05-8A6CE96B6DA9}"/>
              </a:ext>
            </a:extLst>
          </p:cNvPr>
          <p:cNvSpPr txBox="1"/>
          <p:nvPr/>
        </p:nvSpPr>
        <p:spPr>
          <a:xfrm>
            <a:off x="7146902" y="2458259"/>
            <a:ext cx="1704998" cy="523220"/>
          </a:xfrm>
          <a:prstGeom prst="rect">
            <a:avLst/>
          </a:prstGeom>
          <a:noFill/>
        </p:spPr>
        <p:txBody>
          <a:bodyPr wrap="square" rtlCol="0">
            <a:spAutoFit/>
          </a:bodyPr>
          <a:lstStyle/>
          <a:p>
            <a:pPr marL="285750" indent="-285750">
              <a:buFont typeface="Arial" panose="020B0604020202020204" pitchFamily="34" charset="0"/>
              <a:buChar char="•"/>
            </a:pPr>
            <a:r>
              <a:rPr lang="en-US" sz="1400" b="1" dirty="0"/>
              <a:t>Decommission &amp; destroy</a:t>
            </a:r>
          </a:p>
        </p:txBody>
      </p:sp>
      <p:sp>
        <p:nvSpPr>
          <p:cNvPr id="17" name="TextBox 16">
            <a:extLst>
              <a:ext uri="{FF2B5EF4-FFF2-40B4-BE49-F238E27FC236}">
                <a16:creationId xmlns:a16="http://schemas.microsoft.com/office/drawing/2014/main" id="{93131FEC-E5BC-45FE-989B-D794AA06E826}"/>
              </a:ext>
            </a:extLst>
          </p:cNvPr>
          <p:cNvSpPr txBox="1"/>
          <p:nvPr/>
        </p:nvSpPr>
        <p:spPr>
          <a:xfrm>
            <a:off x="7146902" y="3210618"/>
            <a:ext cx="1704998" cy="523220"/>
          </a:xfrm>
          <a:prstGeom prst="rect">
            <a:avLst/>
          </a:prstGeom>
          <a:noFill/>
        </p:spPr>
        <p:txBody>
          <a:bodyPr wrap="square" rtlCol="0">
            <a:spAutoFit/>
          </a:bodyPr>
          <a:lstStyle/>
          <a:p>
            <a:pPr marL="285750" indent="-285750">
              <a:buFont typeface="Arial" panose="020B0604020202020204" pitchFamily="34" charset="0"/>
              <a:buChar char="•"/>
            </a:pPr>
            <a:r>
              <a:rPr lang="en-US" sz="1400" b="1" dirty="0"/>
              <a:t>Operate at minimum</a:t>
            </a:r>
          </a:p>
        </p:txBody>
      </p:sp>
      <p:sp>
        <p:nvSpPr>
          <p:cNvPr id="18" name="TextBox 17">
            <a:extLst>
              <a:ext uri="{FF2B5EF4-FFF2-40B4-BE49-F238E27FC236}">
                <a16:creationId xmlns:a16="http://schemas.microsoft.com/office/drawing/2014/main" id="{A96D6C12-F653-4A90-9783-0D45819035AC}"/>
              </a:ext>
            </a:extLst>
          </p:cNvPr>
          <p:cNvSpPr txBox="1"/>
          <p:nvPr/>
        </p:nvSpPr>
        <p:spPr>
          <a:xfrm>
            <a:off x="7146902" y="3835923"/>
            <a:ext cx="1704998" cy="738664"/>
          </a:xfrm>
          <a:prstGeom prst="rect">
            <a:avLst/>
          </a:prstGeom>
          <a:noFill/>
        </p:spPr>
        <p:txBody>
          <a:bodyPr wrap="square" rtlCol="0">
            <a:spAutoFit/>
          </a:bodyPr>
          <a:lstStyle/>
          <a:p>
            <a:pPr marL="285750" indent="-285750">
              <a:buFont typeface="Arial" panose="020B0604020202020204" pitchFamily="34" charset="0"/>
              <a:buChar char="•"/>
            </a:pPr>
            <a:r>
              <a:rPr lang="en-US" sz="1400" b="1" dirty="0"/>
              <a:t>Invest to improve existing infrastructure</a:t>
            </a:r>
          </a:p>
        </p:txBody>
      </p:sp>
      <p:sp>
        <p:nvSpPr>
          <p:cNvPr id="19" name="TextBox 18">
            <a:extLst>
              <a:ext uri="{FF2B5EF4-FFF2-40B4-BE49-F238E27FC236}">
                <a16:creationId xmlns:a16="http://schemas.microsoft.com/office/drawing/2014/main" id="{EE33AD53-5837-4ABD-B8D7-571574FE5B60}"/>
              </a:ext>
            </a:extLst>
          </p:cNvPr>
          <p:cNvSpPr txBox="1"/>
          <p:nvPr/>
        </p:nvSpPr>
        <p:spPr>
          <a:xfrm>
            <a:off x="9023590" y="2895707"/>
            <a:ext cx="1704998" cy="307777"/>
          </a:xfrm>
          <a:prstGeom prst="rect">
            <a:avLst/>
          </a:prstGeom>
          <a:noFill/>
        </p:spPr>
        <p:txBody>
          <a:bodyPr wrap="square" rtlCol="0">
            <a:spAutoFit/>
          </a:bodyPr>
          <a:lstStyle/>
          <a:p>
            <a:pPr marL="285750" indent="-285750">
              <a:buFont typeface="Arial" panose="020B0604020202020204" pitchFamily="34" charset="0"/>
              <a:buChar char="•"/>
            </a:pPr>
            <a:r>
              <a:rPr lang="en-US" sz="1400" b="1" dirty="0"/>
              <a:t>Little to none</a:t>
            </a:r>
          </a:p>
        </p:txBody>
      </p:sp>
      <p:sp>
        <p:nvSpPr>
          <p:cNvPr id="20" name="TextBox 19">
            <a:extLst>
              <a:ext uri="{FF2B5EF4-FFF2-40B4-BE49-F238E27FC236}">
                <a16:creationId xmlns:a16="http://schemas.microsoft.com/office/drawing/2014/main" id="{AEE653E3-B8D5-438B-A6D7-7FBE7D66D7CF}"/>
              </a:ext>
            </a:extLst>
          </p:cNvPr>
          <p:cNvSpPr txBox="1"/>
          <p:nvPr/>
        </p:nvSpPr>
        <p:spPr>
          <a:xfrm>
            <a:off x="9033438" y="3854960"/>
            <a:ext cx="2175668" cy="954107"/>
          </a:xfrm>
          <a:prstGeom prst="rect">
            <a:avLst/>
          </a:prstGeom>
          <a:noFill/>
        </p:spPr>
        <p:txBody>
          <a:bodyPr wrap="square" rtlCol="0">
            <a:spAutoFit/>
          </a:bodyPr>
          <a:lstStyle/>
          <a:p>
            <a:pPr marL="285750" indent="-285750">
              <a:buFont typeface="Arial" panose="020B0604020202020204" pitchFamily="34" charset="0"/>
              <a:buChar char="•"/>
            </a:pPr>
            <a:r>
              <a:rPr lang="en-US" sz="1400" b="1" dirty="0"/>
              <a:t>High Capex outlay – prohibitive</a:t>
            </a:r>
          </a:p>
          <a:p>
            <a:pPr marL="285750" indent="-285750">
              <a:buFont typeface="Arial" panose="020B0604020202020204" pitchFamily="34" charset="0"/>
              <a:buChar char="•"/>
            </a:pPr>
            <a:r>
              <a:rPr lang="en-US" sz="1400" b="1" dirty="0"/>
              <a:t>New paradigm for structured financing</a:t>
            </a:r>
          </a:p>
        </p:txBody>
      </p:sp>
      <p:cxnSp>
        <p:nvCxnSpPr>
          <p:cNvPr id="24" name="Straight Connector 23">
            <a:extLst>
              <a:ext uri="{FF2B5EF4-FFF2-40B4-BE49-F238E27FC236}">
                <a16:creationId xmlns:a16="http://schemas.microsoft.com/office/drawing/2014/main" id="{596A199C-5AA0-4CC6-B896-EDE9297C58F4}"/>
              </a:ext>
            </a:extLst>
          </p:cNvPr>
          <p:cNvCxnSpPr>
            <a:cxnSpLocks/>
          </p:cNvCxnSpPr>
          <p:nvPr/>
        </p:nvCxnSpPr>
        <p:spPr>
          <a:xfrm>
            <a:off x="7314539" y="3051190"/>
            <a:ext cx="1613184"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34943325-5DC0-4DB8-937A-3931F9E4B77C}"/>
              </a:ext>
            </a:extLst>
          </p:cNvPr>
          <p:cNvCxnSpPr>
            <a:cxnSpLocks/>
          </p:cNvCxnSpPr>
          <p:nvPr/>
        </p:nvCxnSpPr>
        <p:spPr>
          <a:xfrm flipV="1">
            <a:off x="7314539" y="3760705"/>
            <a:ext cx="3734461" cy="14385"/>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8AEBD7B-2AFB-46B0-8ABB-315B15A1CAC3}"/>
              </a:ext>
            </a:extLst>
          </p:cNvPr>
          <p:cNvCxnSpPr>
            <a:cxnSpLocks/>
          </p:cNvCxnSpPr>
          <p:nvPr/>
        </p:nvCxnSpPr>
        <p:spPr>
          <a:xfrm flipH="1" flipV="1">
            <a:off x="8937472" y="2238069"/>
            <a:ext cx="7683" cy="2466011"/>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D4D64708-11CE-4745-8F6C-65C4AF0D0ED5}"/>
              </a:ext>
            </a:extLst>
          </p:cNvPr>
          <p:cNvSpPr/>
          <p:nvPr/>
        </p:nvSpPr>
        <p:spPr>
          <a:xfrm>
            <a:off x="1471066" y="4900798"/>
            <a:ext cx="1945234" cy="98307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i="1" dirty="0"/>
              <a:t>Digital Twin Powered Operating Model</a:t>
            </a:r>
          </a:p>
        </p:txBody>
      </p:sp>
      <p:sp>
        <p:nvSpPr>
          <p:cNvPr id="38" name="Isosceles Triangle 37">
            <a:extLst>
              <a:ext uri="{FF2B5EF4-FFF2-40B4-BE49-F238E27FC236}">
                <a16:creationId xmlns:a16="http://schemas.microsoft.com/office/drawing/2014/main" id="{5E5CE8D9-2556-453B-965C-7F5DC7A0E777}"/>
              </a:ext>
            </a:extLst>
          </p:cNvPr>
          <p:cNvSpPr/>
          <p:nvPr/>
        </p:nvSpPr>
        <p:spPr>
          <a:xfrm rot="5400000">
            <a:off x="3174068" y="5229225"/>
            <a:ext cx="983075" cy="326226"/>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1B28BF2A-51AB-4E0C-9639-BEBA0209126D}"/>
              </a:ext>
            </a:extLst>
          </p:cNvPr>
          <p:cNvSpPr txBox="1"/>
          <p:nvPr/>
        </p:nvSpPr>
        <p:spPr>
          <a:xfrm>
            <a:off x="558396" y="6520099"/>
            <a:ext cx="4517038" cy="246221"/>
          </a:xfrm>
          <a:prstGeom prst="rect">
            <a:avLst/>
          </a:prstGeom>
          <a:noFill/>
        </p:spPr>
        <p:txBody>
          <a:bodyPr wrap="square" rtlCol="0">
            <a:spAutoFit/>
          </a:bodyPr>
          <a:lstStyle/>
          <a:p>
            <a:r>
              <a:rPr lang="en-US" sz="1000" dirty="0">
                <a:solidFill>
                  <a:schemeClr val="bg2">
                    <a:lumMod val="50000"/>
                  </a:schemeClr>
                </a:solidFill>
              </a:rPr>
              <a:t>Sources: KONGSBERG internal research, McKinsey &amp; Company, customer interviews</a:t>
            </a:r>
          </a:p>
        </p:txBody>
      </p:sp>
    </p:spTree>
    <p:extLst>
      <p:ext uri="{BB962C8B-B14F-4D97-AF65-F5344CB8AC3E}">
        <p14:creationId xmlns:p14="http://schemas.microsoft.com/office/powerpoint/2010/main" val="4572944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500"/>
                                        <p:tgtEl>
                                          <p:spTgt spid="3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37" grpId="0" animBg="1"/>
      <p:bldP spid="3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81CED5-0D77-4489-838A-B208A2C9ACAF}"/>
              </a:ext>
            </a:extLst>
          </p:cNvPr>
          <p:cNvSpPr>
            <a:spLocks noGrp="1"/>
          </p:cNvSpPr>
          <p:nvPr>
            <p:ph type="title"/>
          </p:nvPr>
        </p:nvSpPr>
        <p:spPr>
          <a:xfrm>
            <a:off x="2034805" y="691698"/>
            <a:ext cx="8106895" cy="923586"/>
          </a:xfrm>
        </p:spPr>
        <p:txBody>
          <a:bodyPr/>
          <a:lstStyle/>
          <a:p>
            <a:r>
              <a:rPr lang="en-US" dirty="0"/>
              <a:t>We are deeply engaged in helping operators tackle the biggest challenges of the industry</a:t>
            </a:r>
          </a:p>
        </p:txBody>
      </p:sp>
      <p:sp>
        <p:nvSpPr>
          <p:cNvPr id="6" name="Rectangle 4">
            <a:extLst>
              <a:ext uri="{FF2B5EF4-FFF2-40B4-BE49-F238E27FC236}">
                <a16:creationId xmlns:a16="http://schemas.microsoft.com/office/drawing/2014/main" id="{E4475C1C-4F2E-47A7-803B-2FA8DFA438CE}"/>
              </a:ext>
            </a:extLst>
          </p:cNvPr>
          <p:cNvSpPr>
            <a:spLocks/>
          </p:cNvSpPr>
          <p:nvPr/>
        </p:nvSpPr>
        <p:spPr bwMode="auto">
          <a:xfrm>
            <a:off x="715145" y="1813130"/>
            <a:ext cx="5719029" cy="899480"/>
          </a:xfrm>
          <a:prstGeom prst="roundRect">
            <a:avLst/>
          </a:prstGeom>
          <a:solidFill>
            <a:schemeClr val="bg1">
              <a:lumMod val="95000"/>
            </a:schemeClr>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9050" tIns="19050" rIns="19050" bIns="19050" anchor="ct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latin typeface="Helvetica Light" charset="0"/>
              <a:ea typeface="Helvetica Light" charset="0"/>
              <a:cs typeface="Helvetica Light" charset="0"/>
              <a:sym typeface="Helvetica Light" charset="0"/>
            </a:endParaRPr>
          </a:p>
        </p:txBody>
      </p:sp>
      <p:sp>
        <p:nvSpPr>
          <p:cNvPr id="7" name="Oval 6">
            <a:extLst>
              <a:ext uri="{FF2B5EF4-FFF2-40B4-BE49-F238E27FC236}">
                <a16:creationId xmlns:a16="http://schemas.microsoft.com/office/drawing/2014/main" id="{D1C2BE71-BF99-4C0C-9B89-5CBA9BB1A2C0}"/>
              </a:ext>
            </a:extLst>
          </p:cNvPr>
          <p:cNvSpPr>
            <a:spLocks/>
          </p:cNvSpPr>
          <p:nvPr/>
        </p:nvSpPr>
        <p:spPr bwMode="auto">
          <a:xfrm>
            <a:off x="397102" y="1921539"/>
            <a:ext cx="682696" cy="682662"/>
          </a:xfrm>
          <a:prstGeom prst="ellipse">
            <a:avLst/>
          </a:prstGeom>
          <a:solidFill>
            <a:schemeClr val="accent1"/>
          </a:solidFill>
          <a:ln w="28575">
            <a:solidFill>
              <a:schemeClr val="bg1"/>
            </a:solidFill>
            <a:miter lim="4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19050" tIns="19050" rIns="19050" bIns="19050" anchor="ct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Helvetica Light" charset="0"/>
              <a:ea typeface="Helvetica Light" charset="0"/>
              <a:cs typeface="Helvetica Light" charset="0"/>
              <a:sym typeface="Helvetica Light" charset="0"/>
            </a:endParaRPr>
          </a:p>
        </p:txBody>
      </p:sp>
      <p:sp>
        <p:nvSpPr>
          <p:cNvPr id="8" name="Rectangle 7">
            <a:extLst>
              <a:ext uri="{FF2B5EF4-FFF2-40B4-BE49-F238E27FC236}">
                <a16:creationId xmlns:a16="http://schemas.microsoft.com/office/drawing/2014/main" id="{21B560E0-E80B-4E86-A439-F3E19D82E843}"/>
              </a:ext>
            </a:extLst>
          </p:cNvPr>
          <p:cNvSpPr/>
          <p:nvPr/>
        </p:nvSpPr>
        <p:spPr>
          <a:xfrm>
            <a:off x="1115475" y="1924316"/>
            <a:ext cx="5292000" cy="677108"/>
          </a:xfrm>
          <a:prstGeom prst="rect">
            <a:avLst/>
          </a:prstGeom>
        </p:spPr>
        <p:txBody>
          <a:bodyPr wrap="square" anchor="ctr">
            <a:spAutoFit/>
          </a:bodyPr>
          <a:lstStyle/>
          <a:p>
            <a:pPr>
              <a:defRPr/>
            </a:pPr>
            <a:r>
              <a:rPr kumimoji="0" lang="en-GB" sz="1400" b="1" i="0" u="none" strike="noStrike" kern="1200" cap="none" spc="0" normalizeH="0" baseline="0" dirty="0">
                <a:ln>
                  <a:noFill/>
                </a:ln>
                <a:solidFill>
                  <a:prstClr val="black"/>
                </a:solidFill>
                <a:effectLst/>
                <a:uLnTx/>
                <a:uFillTx/>
                <a:latin typeface="+mj-lt"/>
                <a:ea typeface="+mn-ea"/>
                <a:cs typeface="+mn-cs"/>
              </a:rPr>
              <a:t>Utilization of</a:t>
            </a:r>
            <a:r>
              <a:rPr lang="en-GB" sz="1400" b="1" dirty="0">
                <a:solidFill>
                  <a:prstClr val="black"/>
                </a:solidFill>
                <a:latin typeface="+mj-lt"/>
              </a:rPr>
              <a:t> existing infrastructure</a:t>
            </a:r>
            <a:endParaRPr kumimoji="0" lang="en-GB" sz="1400" b="1" i="0" u="none" strike="noStrike" kern="1200" cap="none" spc="0" normalizeH="0" baseline="0" dirty="0">
              <a:ln>
                <a:noFill/>
              </a:ln>
              <a:solidFill>
                <a:prstClr val="black"/>
              </a:solidFill>
              <a:effectLst/>
              <a:uLnTx/>
              <a:uFillTx/>
              <a:latin typeface="+mj-lt"/>
              <a:ea typeface="+mn-ea"/>
              <a:cs typeface="+mn-cs"/>
            </a:endParaRPr>
          </a:p>
          <a:p>
            <a:pPr marL="0" indent="0">
              <a:spcAft>
                <a:spcPts val="600"/>
              </a:spcAft>
              <a:buFont typeface="Arial" panose="020B0604020202020204" pitchFamily="34" charset="0"/>
              <a:buNone/>
            </a:pPr>
            <a:r>
              <a:rPr lang="en-GB" sz="1200" dirty="0">
                <a:latin typeface="+mj-lt"/>
                <a:cs typeface="Times New Roman" panose="02020603050405020304" pitchFamily="18" charset="0"/>
              </a:rPr>
              <a:t>Capital investments into brownfield projects are increasingly focused on  </a:t>
            </a:r>
            <a:r>
              <a:rPr lang="en-GB" sz="1200" b="1" dirty="0">
                <a:latin typeface="+mj-lt"/>
                <a:cs typeface="Times New Roman" panose="02020603050405020304" pitchFamily="18" charset="0"/>
              </a:rPr>
              <a:t>maximizing utilization of existing physical facilities, and improving sustainability</a:t>
            </a:r>
          </a:p>
        </p:txBody>
      </p:sp>
      <p:sp>
        <p:nvSpPr>
          <p:cNvPr id="9" name="Rectangle 4">
            <a:extLst>
              <a:ext uri="{FF2B5EF4-FFF2-40B4-BE49-F238E27FC236}">
                <a16:creationId xmlns:a16="http://schemas.microsoft.com/office/drawing/2014/main" id="{1C7274F6-9353-400D-8D6E-E0FDD7158E60}"/>
              </a:ext>
            </a:extLst>
          </p:cNvPr>
          <p:cNvSpPr>
            <a:spLocks/>
          </p:cNvSpPr>
          <p:nvPr/>
        </p:nvSpPr>
        <p:spPr bwMode="auto">
          <a:xfrm>
            <a:off x="715145" y="4858167"/>
            <a:ext cx="5719029" cy="899480"/>
          </a:xfrm>
          <a:prstGeom prst="roundRect">
            <a:avLst/>
          </a:prstGeom>
          <a:solidFill>
            <a:schemeClr val="bg1">
              <a:lumMod val="95000"/>
            </a:schemeClr>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9050" tIns="19050" rIns="19050" bIns="19050" anchor="ct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chemeClr val="tx1"/>
              </a:solidFill>
              <a:effectLst/>
              <a:uLnTx/>
              <a:uFillTx/>
              <a:latin typeface="Helvetica Light" charset="0"/>
              <a:ea typeface="Helvetica Light" charset="0"/>
              <a:cs typeface="Helvetica Light" charset="0"/>
              <a:sym typeface="Helvetica Light" charset="0"/>
            </a:endParaRPr>
          </a:p>
        </p:txBody>
      </p:sp>
      <p:sp>
        <p:nvSpPr>
          <p:cNvPr id="10" name="Oval 8">
            <a:extLst>
              <a:ext uri="{FF2B5EF4-FFF2-40B4-BE49-F238E27FC236}">
                <a16:creationId xmlns:a16="http://schemas.microsoft.com/office/drawing/2014/main" id="{C66D3CF3-11A6-4EA9-9A6D-B34B9DF04936}"/>
              </a:ext>
            </a:extLst>
          </p:cNvPr>
          <p:cNvSpPr>
            <a:spLocks/>
          </p:cNvSpPr>
          <p:nvPr/>
        </p:nvSpPr>
        <p:spPr bwMode="auto">
          <a:xfrm>
            <a:off x="397102" y="4966576"/>
            <a:ext cx="672575" cy="682662"/>
          </a:xfrm>
          <a:prstGeom prst="ellipse">
            <a:avLst/>
          </a:prstGeom>
          <a:solidFill>
            <a:srgbClr val="78A4AA"/>
          </a:solidFill>
          <a:ln w="28575">
            <a:solidFill>
              <a:schemeClr val="bg1"/>
            </a:solidFill>
          </a:ln>
          <a:effectLst/>
        </p:spPr>
        <p:txBody>
          <a:bodyPr lIns="19050" tIns="19050" rIns="19050" bIns="19050" anchor="ct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Helvetica Light" charset="0"/>
              <a:ea typeface="Helvetica Light" charset="0"/>
              <a:cs typeface="Helvetica Light" charset="0"/>
              <a:sym typeface="Helvetica Light" charset="0"/>
            </a:endParaRPr>
          </a:p>
        </p:txBody>
      </p:sp>
      <p:sp>
        <p:nvSpPr>
          <p:cNvPr id="11" name="Rectangle 10">
            <a:extLst>
              <a:ext uri="{FF2B5EF4-FFF2-40B4-BE49-F238E27FC236}">
                <a16:creationId xmlns:a16="http://schemas.microsoft.com/office/drawing/2014/main" id="{956A77BB-D2D2-410D-AC57-FF1B0EA31581}"/>
              </a:ext>
            </a:extLst>
          </p:cNvPr>
          <p:cNvSpPr/>
          <p:nvPr/>
        </p:nvSpPr>
        <p:spPr>
          <a:xfrm>
            <a:off x="1115475" y="5061686"/>
            <a:ext cx="5340139" cy="492443"/>
          </a:xfrm>
          <a:prstGeom prst="rect">
            <a:avLst/>
          </a:prstGeom>
        </p:spPr>
        <p:txBody>
          <a:bodyPr wrap="square"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effectLst/>
                <a:uLnTx/>
                <a:uFillTx/>
                <a:latin typeface="+mj-lt"/>
                <a:ea typeface="+mn-ea"/>
                <a:cs typeface="+mn-cs"/>
              </a:rPr>
              <a:t>Meaningfully embed sustainability </a:t>
            </a:r>
            <a:r>
              <a:rPr lang="en-GB" sz="1400" b="1" dirty="0">
                <a:latin typeface="+mj-lt"/>
              </a:rPr>
              <a:t>in operations</a:t>
            </a:r>
            <a:endParaRPr kumimoji="0" lang="en-GB" sz="1400" b="1" i="0" u="none" strike="noStrike" kern="1200" cap="none" spc="0" normalizeH="0" baseline="0" dirty="0">
              <a:ln>
                <a:noFill/>
              </a:ln>
              <a:effectLst/>
              <a:uLnTx/>
              <a:uFillTx/>
              <a:latin typeface="+mj-lt"/>
              <a:ea typeface="+mn-ea"/>
              <a:cs typeface="+mn-cs"/>
            </a:endParaRPr>
          </a:p>
          <a:p>
            <a:pPr marL="0" indent="0">
              <a:spcAft>
                <a:spcPts val="600"/>
              </a:spcAft>
              <a:buFont typeface="Arial" panose="020B0604020202020204" pitchFamily="34" charset="0"/>
              <a:buNone/>
            </a:pPr>
            <a:r>
              <a:rPr lang="en-GB" sz="1200" dirty="0">
                <a:latin typeface="+mj-lt"/>
                <a:cs typeface="Times New Roman" panose="02020603050405020304" pitchFamily="18" charset="0"/>
              </a:rPr>
              <a:t>Deliberately focus on emissions reduction, energy management and transparency</a:t>
            </a:r>
          </a:p>
        </p:txBody>
      </p:sp>
      <p:sp>
        <p:nvSpPr>
          <p:cNvPr id="12" name="Rectangle 4">
            <a:extLst>
              <a:ext uri="{FF2B5EF4-FFF2-40B4-BE49-F238E27FC236}">
                <a16:creationId xmlns:a16="http://schemas.microsoft.com/office/drawing/2014/main" id="{9DA3D3B5-651F-40C8-8AB2-0885BD8AC252}"/>
              </a:ext>
            </a:extLst>
          </p:cNvPr>
          <p:cNvSpPr>
            <a:spLocks/>
          </p:cNvSpPr>
          <p:nvPr/>
        </p:nvSpPr>
        <p:spPr bwMode="auto">
          <a:xfrm>
            <a:off x="715145" y="3843155"/>
            <a:ext cx="5719029" cy="899480"/>
          </a:xfrm>
          <a:prstGeom prst="roundRect">
            <a:avLst/>
          </a:prstGeom>
          <a:solidFill>
            <a:schemeClr val="bg1">
              <a:lumMod val="95000"/>
            </a:schemeClr>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9050" tIns="19050" rIns="19050" bIns="19050" anchor="ct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latin typeface="Helvetica Light" charset="0"/>
              <a:ea typeface="Helvetica Light" charset="0"/>
              <a:cs typeface="Helvetica Light" charset="0"/>
              <a:sym typeface="Helvetica Light" charset="0"/>
            </a:endParaRPr>
          </a:p>
        </p:txBody>
      </p:sp>
      <p:sp>
        <p:nvSpPr>
          <p:cNvPr id="13" name="Oval 8">
            <a:extLst>
              <a:ext uri="{FF2B5EF4-FFF2-40B4-BE49-F238E27FC236}">
                <a16:creationId xmlns:a16="http://schemas.microsoft.com/office/drawing/2014/main" id="{54091D24-82D1-489C-B64D-15BE2A8F905B}"/>
              </a:ext>
            </a:extLst>
          </p:cNvPr>
          <p:cNvSpPr>
            <a:spLocks/>
          </p:cNvSpPr>
          <p:nvPr/>
        </p:nvSpPr>
        <p:spPr bwMode="auto">
          <a:xfrm>
            <a:off x="397102" y="3951564"/>
            <a:ext cx="682696" cy="682662"/>
          </a:xfrm>
          <a:prstGeom prst="ellipse">
            <a:avLst/>
          </a:prstGeom>
          <a:solidFill>
            <a:srgbClr val="1E6772"/>
          </a:solidFill>
          <a:ln w="28575">
            <a:solidFill>
              <a:schemeClr val="bg1"/>
            </a:solidFill>
          </a:ln>
          <a:effectLst/>
        </p:spPr>
        <p:txBody>
          <a:bodyPr lIns="19050" tIns="19050" rIns="19050" bIns="19050" anchor="ct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Helvetica Light" charset="0"/>
              <a:ea typeface="Helvetica Light" charset="0"/>
              <a:cs typeface="Helvetica Light" charset="0"/>
              <a:sym typeface="Helvetica Light" charset="0"/>
            </a:endParaRPr>
          </a:p>
        </p:txBody>
      </p:sp>
      <p:sp>
        <p:nvSpPr>
          <p:cNvPr id="14" name="Rectangle 13">
            <a:extLst>
              <a:ext uri="{FF2B5EF4-FFF2-40B4-BE49-F238E27FC236}">
                <a16:creationId xmlns:a16="http://schemas.microsoft.com/office/drawing/2014/main" id="{205C3230-71F7-41F1-8A28-7545BA53F7B8}"/>
              </a:ext>
            </a:extLst>
          </p:cNvPr>
          <p:cNvSpPr/>
          <p:nvPr/>
        </p:nvSpPr>
        <p:spPr>
          <a:xfrm>
            <a:off x="1115475" y="3954342"/>
            <a:ext cx="5292000" cy="677108"/>
          </a:xfrm>
          <a:prstGeom prst="rect">
            <a:avLst/>
          </a:prstGeom>
        </p:spPr>
        <p:txBody>
          <a:bodyPr wrap="square"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effectLst/>
                <a:uLnTx/>
                <a:uFillTx/>
                <a:latin typeface="+mj-lt"/>
                <a:ea typeface="+mn-ea"/>
                <a:cs typeface="+mn-cs"/>
              </a:rPr>
              <a:t>Rework the legacy operating models to become leaner and greener</a:t>
            </a:r>
          </a:p>
          <a:p>
            <a:pPr marL="0" indent="0">
              <a:spcAft>
                <a:spcPts val="600"/>
              </a:spcAft>
              <a:buFont typeface="Arial" panose="020B0604020202020204" pitchFamily="34" charset="0"/>
              <a:buNone/>
            </a:pPr>
            <a:r>
              <a:rPr lang="en-GB" sz="1200" dirty="0">
                <a:latin typeface="+mj-lt"/>
                <a:cs typeface="Times New Roman" panose="02020603050405020304" pitchFamily="18" charset="0"/>
              </a:rPr>
              <a:t>Reduce dependency on personnel onsite; enabling more streamlined and digital operating models – tapping ecosystems of expertise</a:t>
            </a:r>
          </a:p>
        </p:txBody>
      </p:sp>
      <p:sp>
        <p:nvSpPr>
          <p:cNvPr id="15" name="Rectangle 4">
            <a:extLst>
              <a:ext uri="{FF2B5EF4-FFF2-40B4-BE49-F238E27FC236}">
                <a16:creationId xmlns:a16="http://schemas.microsoft.com/office/drawing/2014/main" id="{41227A54-8529-401C-BF01-ABC8CEB34FE4}"/>
              </a:ext>
            </a:extLst>
          </p:cNvPr>
          <p:cNvSpPr>
            <a:spLocks/>
          </p:cNvSpPr>
          <p:nvPr/>
        </p:nvSpPr>
        <p:spPr bwMode="auto">
          <a:xfrm>
            <a:off x="715145" y="2828142"/>
            <a:ext cx="5719029" cy="899480"/>
          </a:xfrm>
          <a:prstGeom prst="roundRect">
            <a:avLst/>
          </a:prstGeom>
          <a:solidFill>
            <a:schemeClr val="bg1">
              <a:lumMod val="95000"/>
            </a:schemeClr>
          </a:solidFill>
          <a:ln>
            <a:noFill/>
          </a:ln>
          <a:effectLst/>
          <a:extLs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9050" tIns="19050" rIns="19050" bIns="19050" anchor="ct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latin typeface="Helvetica Light" charset="0"/>
              <a:ea typeface="Helvetica Light" charset="0"/>
              <a:cs typeface="Helvetica Light" charset="0"/>
              <a:sym typeface="Helvetica Light" charset="0"/>
            </a:endParaRPr>
          </a:p>
        </p:txBody>
      </p:sp>
      <p:sp>
        <p:nvSpPr>
          <p:cNvPr id="16" name="Oval 8">
            <a:extLst>
              <a:ext uri="{FF2B5EF4-FFF2-40B4-BE49-F238E27FC236}">
                <a16:creationId xmlns:a16="http://schemas.microsoft.com/office/drawing/2014/main" id="{303B7FB8-9C5E-4481-B0AE-BEF06AE641A3}"/>
              </a:ext>
            </a:extLst>
          </p:cNvPr>
          <p:cNvSpPr>
            <a:spLocks/>
          </p:cNvSpPr>
          <p:nvPr/>
        </p:nvSpPr>
        <p:spPr bwMode="auto">
          <a:xfrm>
            <a:off x="397102" y="2936551"/>
            <a:ext cx="682696" cy="682662"/>
          </a:xfrm>
          <a:prstGeom prst="ellipse">
            <a:avLst/>
          </a:prstGeom>
          <a:solidFill>
            <a:schemeClr val="accent2"/>
          </a:solidFill>
          <a:ln w="28575">
            <a:solidFill>
              <a:schemeClr val="bg1"/>
            </a:solidFill>
          </a:ln>
          <a:effectLst/>
        </p:spPr>
        <p:txBody>
          <a:bodyPr lIns="19050" tIns="19050" rIns="19050" bIns="19050" anchor="ctr"/>
          <a:lstStyle>
            <a:lvl1pPr>
              <a:defRPr sz="3000" b="1">
                <a:solidFill>
                  <a:srgbClr val="000000"/>
                </a:solidFill>
                <a:latin typeface="Helvetica Neue" charset="0"/>
                <a:ea typeface="Helvetica Neue" charset="0"/>
                <a:cs typeface="Helvetica Neue" charset="0"/>
                <a:sym typeface="Helvetica Neue" charset="0"/>
              </a:defRPr>
            </a:lvl1pPr>
            <a:lvl2pPr marL="742950" indent="-285750">
              <a:defRPr sz="3000" b="1">
                <a:solidFill>
                  <a:srgbClr val="000000"/>
                </a:solidFill>
                <a:latin typeface="Helvetica Neue" charset="0"/>
                <a:ea typeface="Helvetica Neue" charset="0"/>
                <a:cs typeface="Helvetica Neue" charset="0"/>
                <a:sym typeface="Helvetica Neue" charset="0"/>
              </a:defRPr>
            </a:lvl2pPr>
            <a:lvl3pPr marL="1143000" indent="-228600">
              <a:defRPr sz="3000" b="1">
                <a:solidFill>
                  <a:srgbClr val="000000"/>
                </a:solidFill>
                <a:latin typeface="Helvetica Neue" charset="0"/>
                <a:ea typeface="Helvetica Neue" charset="0"/>
                <a:cs typeface="Helvetica Neue" charset="0"/>
                <a:sym typeface="Helvetica Neue" charset="0"/>
              </a:defRPr>
            </a:lvl3pPr>
            <a:lvl4pPr marL="1600200" indent="-228600">
              <a:defRPr sz="3000" b="1">
                <a:solidFill>
                  <a:srgbClr val="000000"/>
                </a:solidFill>
                <a:latin typeface="Helvetica Neue" charset="0"/>
                <a:ea typeface="Helvetica Neue" charset="0"/>
                <a:cs typeface="Helvetica Neue" charset="0"/>
                <a:sym typeface="Helvetica Neue" charset="0"/>
              </a:defRPr>
            </a:lvl4pPr>
            <a:lvl5pPr marL="2057400" indent="-228600">
              <a:defRPr sz="3000" b="1">
                <a:solidFill>
                  <a:srgbClr val="000000"/>
                </a:solidFill>
                <a:latin typeface="Helvetica Neue" charset="0"/>
                <a:ea typeface="Helvetica Neue" charset="0"/>
                <a:cs typeface="Helvetica Neue" charset="0"/>
                <a:sym typeface="Helvetica Neue" charset="0"/>
              </a:defRPr>
            </a:lvl5pPr>
            <a:lvl6pPr marL="25146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6pPr>
            <a:lvl7pPr marL="29718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7pPr>
            <a:lvl8pPr marL="34290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8pPr>
            <a:lvl9pPr marL="3886200" indent="-228600" defTabSz="825500" eaLnBrk="0" fontAlgn="base" hangingPunct="0">
              <a:spcBef>
                <a:spcPct val="0"/>
              </a:spcBef>
              <a:spcAft>
                <a:spcPct val="0"/>
              </a:spcAft>
              <a:defRPr sz="3000" b="1">
                <a:solidFill>
                  <a:srgbClr val="000000"/>
                </a:solidFill>
                <a:latin typeface="Helvetica Neue" charset="0"/>
                <a:ea typeface="Helvetica Neue" charset="0"/>
                <a:cs typeface="Helvetica Neue" charset="0"/>
                <a:sym typeface="Helvetica Neue"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Helvetica Light" charset="0"/>
              <a:ea typeface="Helvetica Light" charset="0"/>
              <a:cs typeface="Helvetica Light" charset="0"/>
              <a:sym typeface="Helvetica Light" charset="0"/>
            </a:endParaRPr>
          </a:p>
        </p:txBody>
      </p:sp>
      <p:sp>
        <p:nvSpPr>
          <p:cNvPr id="17" name="Rectangle 16">
            <a:extLst>
              <a:ext uri="{FF2B5EF4-FFF2-40B4-BE49-F238E27FC236}">
                <a16:creationId xmlns:a16="http://schemas.microsoft.com/office/drawing/2014/main" id="{21751595-A3B2-4A36-B2AA-ABAADDC521D2}"/>
              </a:ext>
            </a:extLst>
          </p:cNvPr>
          <p:cNvSpPr/>
          <p:nvPr/>
        </p:nvSpPr>
        <p:spPr>
          <a:xfrm>
            <a:off x="1115475" y="2939329"/>
            <a:ext cx="5292000" cy="677108"/>
          </a:xfrm>
          <a:prstGeom prst="rect">
            <a:avLst/>
          </a:prstGeom>
        </p:spPr>
        <p:txBody>
          <a:bodyPr wrap="square" anchor="ctr">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effectLst/>
                <a:uLnTx/>
                <a:uFillTx/>
                <a:latin typeface="+mj-lt"/>
                <a:ea typeface="+mn-ea"/>
                <a:cs typeface="+mn-cs"/>
              </a:rPr>
              <a:t>Reduce operating costs sustainably</a:t>
            </a:r>
          </a:p>
          <a:p>
            <a:pPr marL="0" indent="0">
              <a:spcAft>
                <a:spcPts val="600"/>
              </a:spcAft>
              <a:buFont typeface="Arial" panose="020B0604020202020204" pitchFamily="34" charset="0"/>
              <a:buNone/>
            </a:pPr>
            <a:r>
              <a:rPr lang="en-GB" sz="1200" dirty="0">
                <a:latin typeface="+mj-lt"/>
                <a:cs typeface="Times New Roman" panose="02020603050405020304" pitchFamily="18" charset="0"/>
              </a:rPr>
              <a:t>Relocate technical support teams from site, whilst increasing operational efficiency. Couple energy efficiency with throughput and performance.</a:t>
            </a:r>
          </a:p>
        </p:txBody>
      </p:sp>
      <p:pic>
        <p:nvPicPr>
          <p:cNvPr id="18" name="Picture 17" descr="Shape&#10;&#10;Description automatically generated with low confidence">
            <a:extLst>
              <a:ext uri="{FF2B5EF4-FFF2-40B4-BE49-F238E27FC236}">
                <a16:creationId xmlns:a16="http://schemas.microsoft.com/office/drawing/2014/main" id="{760CDF65-BF91-4EFF-B3C2-6B8BCB57A311}"/>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Lst>
          </a:blip>
          <a:stretch>
            <a:fillRect/>
          </a:stretch>
        </p:blipFill>
        <p:spPr>
          <a:xfrm>
            <a:off x="551934" y="3084791"/>
            <a:ext cx="386182" cy="386182"/>
          </a:xfrm>
          <a:prstGeom prst="rect">
            <a:avLst/>
          </a:prstGeom>
        </p:spPr>
      </p:pic>
      <p:pic>
        <p:nvPicPr>
          <p:cNvPr id="19" name="Graphic 18" descr="Open hand with plant outline">
            <a:extLst>
              <a:ext uri="{FF2B5EF4-FFF2-40B4-BE49-F238E27FC236}">
                <a16:creationId xmlns:a16="http://schemas.microsoft.com/office/drawing/2014/main" id="{3C5A3DCE-E720-4113-A475-0245A6D4C60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88690" y="2000051"/>
            <a:ext cx="511176" cy="511176"/>
          </a:xfrm>
          <a:prstGeom prst="rect">
            <a:avLst/>
          </a:prstGeom>
        </p:spPr>
      </p:pic>
      <p:pic>
        <p:nvPicPr>
          <p:cNvPr id="20" name="Graphic 19" descr="Cloud Computing outline">
            <a:extLst>
              <a:ext uri="{FF2B5EF4-FFF2-40B4-BE49-F238E27FC236}">
                <a16:creationId xmlns:a16="http://schemas.microsoft.com/office/drawing/2014/main" id="{F2D255AC-8429-450D-A8EC-0145A1679B5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07540" y="4080755"/>
            <a:ext cx="474970" cy="474970"/>
          </a:xfrm>
          <a:prstGeom prst="rect">
            <a:avLst/>
          </a:prstGeom>
        </p:spPr>
      </p:pic>
      <p:pic>
        <p:nvPicPr>
          <p:cNvPr id="21" name="Graphic 20" descr="Online meeting outline">
            <a:extLst>
              <a:ext uri="{FF2B5EF4-FFF2-40B4-BE49-F238E27FC236}">
                <a16:creationId xmlns:a16="http://schemas.microsoft.com/office/drawing/2014/main" id="{147EF885-B6D6-48ED-B915-29B2F60419E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30394" y="5111682"/>
            <a:ext cx="429172" cy="429172"/>
          </a:xfrm>
          <a:prstGeom prst="rect">
            <a:avLst/>
          </a:prstGeom>
        </p:spPr>
      </p:pic>
      <p:sp>
        <p:nvSpPr>
          <p:cNvPr id="22" name="TextBox 21">
            <a:extLst>
              <a:ext uri="{FF2B5EF4-FFF2-40B4-BE49-F238E27FC236}">
                <a16:creationId xmlns:a16="http://schemas.microsoft.com/office/drawing/2014/main" id="{C2F195F1-0DE3-430C-8B68-90310752AE07}"/>
              </a:ext>
            </a:extLst>
          </p:cNvPr>
          <p:cNvSpPr txBox="1"/>
          <p:nvPr/>
        </p:nvSpPr>
        <p:spPr>
          <a:xfrm>
            <a:off x="6849061" y="1782303"/>
            <a:ext cx="4479340" cy="3975344"/>
          </a:xfrm>
          <a:prstGeom prst="rect">
            <a:avLst/>
          </a:prstGeom>
          <a:solidFill>
            <a:srgbClr val="FAFAFA"/>
          </a:solidFill>
          <a:ln w="12700">
            <a:solidFill>
              <a:schemeClr val="accent2"/>
            </a:solidFill>
            <a:prstDash val="dash"/>
          </a:ln>
        </p:spPr>
        <p:txBody>
          <a:bodyPr wrap="square" lIns="72000" tIns="72000" rIns="72000" bIns="72000" rtlCol="0" anchor="ctr" anchorCtr="0">
            <a:noAutofit/>
          </a:bodyPr>
          <a:lstStyle>
            <a:defPPr>
              <a:defRPr lang="sv-SE"/>
            </a:defPPr>
            <a:lvl1pPr marR="0" lvl="0" indent="0" algn="ctr" fontAlgn="auto">
              <a:lnSpc>
                <a:spcPct val="100000"/>
              </a:lnSpc>
              <a:spcBef>
                <a:spcPts val="0"/>
              </a:spcBef>
              <a:spcAft>
                <a:spcPts val="0"/>
              </a:spcAft>
              <a:buClr>
                <a:srgbClr val="D71539"/>
              </a:buClr>
              <a:buSzTx/>
              <a:buFont typeface="Wingdings" pitchFamily="2" charset="2"/>
              <a:buNone/>
              <a:tabLst/>
              <a:defRPr kumimoji="0" sz="1200" b="1" i="0" u="none" strike="noStrike" cap="none" spc="0" normalizeH="0" baseline="0">
                <a:ln>
                  <a:noFill/>
                </a:ln>
                <a:solidFill>
                  <a:schemeClr val="accent1"/>
                </a:solidFill>
                <a:effectLst/>
                <a:uLnTx/>
                <a:uFillTx/>
                <a:latin typeface="Calibri" panose="020F0502020204030204"/>
                <a:cs typeface="Times New Roman" panose="02020603050405020304" pitchFamily="18" charset="0"/>
              </a:defRPr>
            </a:lvl1pPr>
          </a:lstStyle>
          <a:p>
            <a:pPr marL="0" marR="0" lvl="0" indent="0" algn="ctr" defTabSz="914400" rtl="0" eaLnBrk="1" fontAlgn="auto" latinLnBrk="0" hangingPunct="1">
              <a:lnSpc>
                <a:spcPct val="100000"/>
              </a:lnSpc>
              <a:spcBef>
                <a:spcPts val="0"/>
              </a:spcBef>
              <a:spcAft>
                <a:spcPts val="0"/>
              </a:spcAft>
              <a:buClr>
                <a:srgbClr val="D71539"/>
              </a:buClr>
              <a:buSzTx/>
              <a:buFont typeface="Wingdings" pitchFamily="2" charset="2"/>
              <a:buNone/>
              <a:tabLst/>
              <a:defRPr/>
            </a:pPr>
            <a:endParaRPr kumimoji="0" lang="en-GB" sz="1200" b="1" i="0" u="none" strike="noStrike" kern="1200" cap="none" spc="0" normalizeH="0" baseline="0" noProof="0" dirty="0">
              <a:ln>
                <a:noFill/>
              </a:ln>
              <a:solidFill>
                <a:srgbClr val="001639"/>
              </a:solidFill>
              <a:effectLst/>
              <a:uLnTx/>
              <a:uFillTx/>
              <a:latin typeface="Calibri" panose="020F0502020204030204"/>
              <a:ea typeface="+mn-ea"/>
              <a:cs typeface="Times New Roman" panose="02020603050405020304" pitchFamily="18" charset="0"/>
            </a:endParaRPr>
          </a:p>
        </p:txBody>
      </p:sp>
      <p:sp>
        <p:nvSpPr>
          <p:cNvPr id="25" name="Rectangle 24">
            <a:extLst>
              <a:ext uri="{FF2B5EF4-FFF2-40B4-BE49-F238E27FC236}">
                <a16:creationId xmlns:a16="http://schemas.microsoft.com/office/drawing/2014/main" id="{CD8D8776-8309-476B-A610-3E3FEE3C536F}"/>
              </a:ext>
            </a:extLst>
          </p:cNvPr>
          <p:cNvSpPr/>
          <p:nvPr/>
        </p:nvSpPr>
        <p:spPr>
          <a:xfrm rot="16200000">
            <a:off x="8852592" y="-221229"/>
            <a:ext cx="472277" cy="447934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lIns="72000" tIns="72000" rIns="72000" bIns="72000" rtlCol="0" anchor="ct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endParaRPr kumimoji="0" lang="en-GB" sz="1200" b="0" i="0" u="none" strike="noStrike" kern="1200" cap="none" spc="0" normalizeH="0" baseline="0" noProof="0" dirty="0">
              <a:ln>
                <a:noFill/>
              </a:ln>
              <a:solidFill>
                <a:prstClr val="white"/>
              </a:solidFill>
              <a:effectLst/>
              <a:uLnTx/>
              <a:uFillTx/>
              <a:latin typeface="Calibri" panose="020F0502020204030204"/>
              <a:ea typeface="+mn-ea"/>
              <a:cs typeface="Times New Roman" panose="02020603050405020304" pitchFamily="18" charset="0"/>
            </a:endParaRPr>
          </a:p>
        </p:txBody>
      </p:sp>
      <p:sp>
        <p:nvSpPr>
          <p:cNvPr id="26" name="TextBox 25">
            <a:extLst>
              <a:ext uri="{FF2B5EF4-FFF2-40B4-BE49-F238E27FC236}">
                <a16:creationId xmlns:a16="http://schemas.microsoft.com/office/drawing/2014/main" id="{782AF5BB-A0BF-4E33-AD91-CAA0E440D163}"/>
              </a:ext>
            </a:extLst>
          </p:cNvPr>
          <p:cNvSpPr txBox="1"/>
          <p:nvPr/>
        </p:nvSpPr>
        <p:spPr>
          <a:xfrm>
            <a:off x="7100329" y="1850423"/>
            <a:ext cx="3999862" cy="299256"/>
          </a:xfrm>
          <a:prstGeom prst="rect">
            <a:avLst/>
          </a:prstGeom>
          <a:noFill/>
        </p:spPr>
        <p:txBody>
          <a:bodyPr wrap="square" lIns="72000" tIns="72000" rIns="72000" bIns="72000" rtlCol="0" anchor="ctr" anchorCtr="0">
            <a:noAutofit/>
          </a:bodyPr>
          <a:lstStyle/>
          <a:p>
            <a:pPr marL="0" marR="0" lvl="0" indent="0" algn="ctr" defTabSz="914400" rtl="0" eaLnBrk="1" fontAlgn="auto" latinLnBrk="0" hangingPunct="1">
              <a:lnSpc>
                <a:spcPct val="100000"/>
              </a:lnSpc>
              <a:spcBef>
                <a:spcPts val="0"/>
              </a:spcBef>
              <a:spcAft>
                <a:spcPts val="0"/>
              </a:spcAft>
              <a:buClr>
                <a:srgbClr val="D71539"/>
              </a:buClr>
              <a:buSzTx/>
              <a:buFont typeface="Wingdings" pitchFamily="2" charset="2"/>
              <a:buNone/>
              <a:tabLst/>
              <a:defRPr/>
            </a:pPr>
            <a:r>
              <a:rPr kumimoji="0" lang="en-GB" sz="1400" i="0" u="none" strike="noStrike" kern="1200" cap="none" spc="0" normalizeH="0" baseline="0" noProof="0" dirty="0">
                <a:ln>
                  <a:noFill/>
                </a:ln>
                <a:solidFill>
                  <a:schemeClr val="bg1"/>
                </a:solidFill>
                <a:effectLst/>
                <a:uLnTx/>
                <a:uFillTx/>
                <a:latin typeface="Calibri" panose="020F0502020204030204"/>
                <a:ea typeface="+mn-ea"/>
                <a:cs typeface="Times New Roman" panose="02020603050405020304" pitchFamily="18" charset="0"/>
              </a:rPr>
              <a:t>Remote &amp; Semi-Autonomous Operations, across fleets of assets</a:t>
            </a:r>
          </a:p>
        </p:txBody>
      </p:sp>
      <p:grpSp>
        <p:nvGrpSpPr>
          <p:cNvPr id="61" name="Group 60">
            <a:extLst>
              <a:ext uri="{FF2B5EF4-FFF2-40B4-BE49-F238E27FC236}">
                <a16:creationId xmlns:a16="http://schemas.microsoft.com/office/drawing/2014/main" id="{8FE55F94-F76E-45B0-B5FA-00DC436A14A5}"/>
              </a:ext>
            </a:extLst>
          </p:cNvPr>
          <p:cNvGrpSpPr/>
          <p:nvPr/>
        </p:nvGrpSpPr>
        <p:grpSpPr>
          <a:xfrm>
            <a:off x="6793878" y="4826703"/>
            <a:ext cx="4606970" cy="854300"/>
            <a:chOff x="6793878" y="2282605"/>
            <a:chExt cx="4606970" cy="854300"/>
          </a:xfrm>
        </p:grpSpPr>
        <p:sp>
          <p:nvSpPr>
            <p:cNvPr id="24" name="Rectangle: Rounded Corners 23">
              <a:extLst>
                <a:ext uri="{FF2B5EF4-FFF2-40B4-BE49-F238E27FC236}">
                  <a16:creationId xmlns:a16="http://schemas.microsoft.com/office/drawing/2014/main" id="{F0E54463-D190-4BC3-865D-ED8DAD36582E}"/>
                </a:ext>
              </a:extLst>
            </p:cNvPr>
            <p:cNvSpPr/>
            <p:nvPr/>
          </p:nvSpPr>
          <p:spPr>
            <a:xfrm>
              <a:off x="6793878" y="2586261"/>
              <a:ext cx="987267" cy="411308"/>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Times New Roman" panose="02020603050405020304" pitchFamily="18" charset="0"/>
                </a:rPr>
                <a:t>Efficiency</a:t>
              </a:r>
            </a:p>
          </p:txBody>
        </p:sp>
        <p:sp>
          <p:nvSpPr>
            <p:cNvPr id="31" name="Rectangle: Rounded Corners 30">
              <a:extLst>
                <a:ext uri="{FF2B5EF4-FFF2-40B4-BE49-F238E27FC236}">
                  <a16:creationId xmlns:a16="http://schemas.microsoft.com/office/drawing/2014/main" id="{2DA76E7E-464A-4090-9E59-F0604DCA3994}"/>
                </a:ext>
              </a:extLst>
            </p:cNvPr>
            <p:cNvSpPr/>
            <p:nvPr/>
          </p:nvSpPr>
          <p:spPr>
            <a:xfrm>
              <a:off x="7722318" y="2765011"/>
              <a:ext cx="987267" cy="371894"/>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Times New Roman" panose="02020603050405020304" pitchFamily="18" charset="0"/>
                </a:rPr>
                <a:t>Collaborative ways of working</a:t>
              </a:r>
            </a:p>
          </p:txBody>
        </p:sp>
        <p:sp>
          <p:nvSpPr>
            <p:cNvPr id="32" name="Rectangle: Rounded Corners 31">
              <a:extLst>
                <a:ext uri="{FF2B5EF4-FFF2-40B4-BE49-F238E27FC236}">
                  <a16:creationId xmlns:a16="http://schemas.microsoft.com/office/drawing/2014/main" id="{811704C7-D2FD-4761-9C74-91BC83CECA1B}"/>
                </a:ext>
              </a:extLst>
            </p:cNvPr>
            <p:cNvSpPr/>
            <p:nvPr/>
          </p:nvSpPr>
          <p:spPr>
            <a:xfrm>
              <a:off x="8398776" y="2681957"/>
              <a:ext cx="1280652" cy="268891"/>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Times New Roman" panose="02020603050405020304" pitchFamily="18" charset="0"/>
                </a:rPr>
                <a:t>Safety</a:t>
              </a:r>
            </a:p>
          </p:txBody>
        </p:sp>
        <p:pic>
          <p:nvPicPr>
            <p:cNvPr id="34" name="Picture 33">
              <a:extLst>
                <a:ext uri="{FF2B5EF4-FFF2-40B4-BE49-F238E27FC236}">
                  <a16:creationId xmlns:a16="http://schemas.microsoft.com/office/drawing/2014/main" id="{218B1A56-2B68-47A2-B8DF-6C20C7B3C35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014176" y="2282605"/>
              <a:ext cx="375668" cy="375668"/>
            </a:xfrm>
            <a:prstGeom prst="rect">
              <a:avLst/>
            </a:prstGeom>
          </p:spPr>
        </p:pic>
        <p:pic>
          <p:nvPicPr>
            <p:cNvPr id="35" name="Picture 34">
              <a:extLst>
                <a:ext uri="{FF2B5EF4-FFF2-40B4-BE49-F238E27FC236}">
                  <a16:creationId xmlns:a16="http://schemas.microsoft.com/office/drawing/2014/main" id="{E94C50BD-830F-420C-B3AD-8EAFA90F8026}"/>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076663" y="2282605"/>
              <a:ext cx="375668" cy="375668"/>
            </a:xfrm>
            <a:prstGeom prst="rect">
              <a:avLst/>
            </a:prstGeom>
          </p:spPr>
        </p:pic>
        <p:pic>
          <p:nvPicPr>
            <p:cNvPr id="36" name="Picture 35">
              <a:extLst>
                <a:ext uri="{FF2B5EF4-FFF2-40B4-BE49-F238E27FC236}">
                  <a16:creationId xmlns:a16="http://schemas.microsoft.com/office/drawing/2014/main" id="{4F7655EB-5389-4EC2-8C42-A799A299B227}"/>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9709296" y="2282605"/>
              <a:ext cx="375668" cy="375668"/>
            </a:xfrm>
            <a:prstGeom prst="rect">
              <a:avLst/>
            </a:prstGeom>
          </p:spPr>
        </p:pic>
        <p:pic>
          <p:nvPicPr>
            <p:cNvPr id="37" name="Graphic 36" descr="Branching diagram outline">
              <a:extLst>
                <a:ext uri="{FF2B5EF4-FFF2-40B4-BE49-F238E27FC236}">
                  <a16:creationId xmlns:a16="http://schemas.microsoft.com/office/drawing/2014/main" id="{AD4EE229-6732-477C-B12C-A0C36B30509C}"/>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10800000">
              <a:off x="10696563" y="2282605"/>
              <a:ext cx="379962" cy="379962"/>
            </a:xfrm>
            <a:prstGeom prst="rect">
              <a:avLst/>
            </a:prstGeom>
          </p:spPr>
        </p:pic>
        <p:pic>
          <p:nvPicPr>
            <p:cNvPr id="39" name="Graphic 38" descr="Construction worker female outline">
              <a:extLst>
                <a:ext uri="{FF2B5EF4-FFF2-40B4-BE49-F238E27FC236}">
                  <a16:creationId xmlns:a16="http://schemas.microsoft.com/office/drawing/2014/main" id="{4807ED9C-7263-45B6-9066-7882E0473A4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8848499" y="2282605"/>
              <a:ext cx="336743" cy="336743"/>
            </a:xfrm>
            <a:prstGeom prst="rect">
              <a:avLst/>
            </a:prstGeom>
          </p:spPr>
        </p:pic>
        <p:sp>
          <p:nvSpPr>
            <p:cNvPr id="40" name="Rectangle: Rounded Corners 39">
              <a:extLst>
                <a:ext uri="{FF2B5EF4-FFF2-40B4-BE49-F238E27FC236}">
                  <a16:creationId xmlns:a16="http://schemas.microsoft.com/office/drawing/2014/main" id="{4F5AB7F5-F9B4-446A-9A03-942E830345EE}"/>
                </a:ext>
              </a:extLst>
            </p:cNvPr>
            <p:cNvSpPr/>
            <p:nvPr/>
          </p:nvSpPr>
          <p:spPr>
            <a:xfrm>
              <a:off x="9428230" y="2586261"/>
              <a:ext cx="987267" cy="411308"/>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Times New Roman" panose="02020603050405020304" pitchFamily="18" charset="0"/>
                </a:rPr>
                <a:t>(Semi)-Autonomous</a:t>
              </a:r>
            </a:p>
          </p:txBody>
        </p:sp>
        <p:sp>
          <p:nvSpPr>
            <p:cNvPr id="41" name="Rectangle: Rounded Corners 40">
              <a:extLst>
                <a:ext uri="{FF2B5EF4-FFF2-40B4-BE49-F238E27FC236}">
                  <a16:creationId xmlns:a16="http://schemas.microsoft.com/office/drawing/2014/main" id="{E2E28912-4425-481B-976C-CE20C8C1E59A}"/>
                </a:ext>
              </a:extLst>
            </p:cNvPr>
            <p:cNvSpPr/>
            <p:nvPr/>
          </p:nvSpPr>
          <p:spPr>
            <a:xfrm>
              <a:off x="10413581" y="2586261"/>
              <a:ext cx="987267" cy="411308"/>
            </a:xfrm>
            <a:prstGeom prst="round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Times New Roman" panose="02020603050405020304" pitchFamily="18" charset="0"/>
                </a:rPr>
                <a:t>Value Chain</a:t>
              </a:r>
              <a:br>
                <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Times New Roman" panose="02020603050405020304" pitchFamily="18" charset="0"/>
                </a:rPr>
              </a:br>
              <a:r>
                <a:rPr lang="en-GB" sz="1000" dirty="0">
                  <a:solidFill>
                    <a:prstClr val="black"/>
                  </a:solidFill>
                  <a:latin typeface="Calibri" panose="020F0502020204030204"/>
                  <a:cs typeface="Times New Roman" panose="02020603050405020304" pitchFamily="18" charset="0"/>
                </a:rPr>
                <a:t>Integration</a:t>
              </a:r>
              <a:endParaRPr kumimoji="0" lang="en-GB" sz="1000" b="0" i="0" u="none" strike="noStrike" kern="1200" cap="none" spc="0" normalizeH="0" baseline="0" noProof="0" dirty="0">
                <a:ln>
                  <a:noFill/>
                </a:ln>
                <a:solidFill>
                  <a:prstClr val="black"/>
                </a:solidFill>
                <a:effectLst/>
                <a:uLnTx/>
                <a:uFillTx/>
                <a:latin typeface="Calibri" panose="020F0502020204030204"/>
                <a:ea typeface="+mn-ea"/>
                <a:cs typeface="Times New Roman" panose="02020603050405020304" pitchFamily="18" charset="0"/>
              </a:endParaRPr>
            </a:p>
          </p:txBody>
        </p:sp>
      </p:grpSp>
      <p:pic>
        <p:nvPicPr>
          <p:cNvPr id="42" name="Picture 41">
            <a:extLst>
              <a:ext uri="{FF2B5EF4-FFF2-40B4-BE49-F238E27FC236}">
                <a16:creationId xmlns:a16="http://schemas.microsoft.com/office/drawing/2014/main" id="{E081A526-6D58-45EF-B64C-36489CF7501E}"/>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787728" y="3728504"/>
            <a:ext cx="537548" cy="537548"/>
          </a:xfrm>
          <a:prstGeom prst="rect">
            <a:avLst/>
          </a:prstGeom>
        </p:spPr>
      </p:pic>
      <p:cxnSp>
        <p:nvCxnSpPr>
          <p:cNvPr id="43" name="Straight Connector 42">
            <a:extLst>
              <a:ext uri="{FF2B5EF4-FFF2-40B4-BE49-F238E27FC236}">
                <a16:creationId xmlns:a16="http://schemas.microsoft.com/office/drawing/2014/main" id="{2385E278-2402-480B-911B-B7BB34F79FF4}"/>
              </a:ext>
            </a:extLst>
          </p:cNvPr>
          <p:cNvCxnSpPr>
            <a:cxnSpLocks/>
            <a:endCxn id="42" idx="0"/>
          </p:cNvCxnSpPr>
          <p:nvPr/>
        </p:nvCxnSpPr>
        <p:spPr>
          <a:xfrm flipH="1">
            <a:off x="8056502" y="3189403"/>
            <a:ext cx="885791" cy="539101"/>
          </a:xfrm>
          <a:prstGeom prst="line">
            <a:avLst/>
          </a:prstGeom>
          <a:ln w="3175">
            <a:solidFill>
              <a:srgbClr val="A8AEB5"/>
            </a:solidFill>
            <a:prstDash val="dash"/>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38D3D36-E007-4AD7-92B5-13A9E5CDF6F0}"/>
              </a:ext>
            </a:extLst>
          </p:cNvPr>
          <p:cNvCxnSpPr>
            <a:cxnSpLocks/>
            <a:endCxn id="47" idx="0"/>
          </p:cNvCxnSpPr>
          <p:nvPr/>
        </p:nvCxnSpPr>
        <p:spPr>
          <a:xfrm flipH="1">
            <a:off x="8788414" y="3189403"/>
            <a:ext cx="284570" cy="539101"/>
          </a:xfrm>
          <a:prstGeom prst="line">
            <a:avLst/>
          </a:prstGeom>
          <a:ln w="3175">
            <a:solidFill>
              <a:srgbClr val="A8AEB5"/>
            </a:solidFill>
            <a:prstDash val="dash"/>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73BDA4B-C994-4734-B421-574A27A27E9E}"/>
              </a:ext>
            </a:extLst>
          </p:cNvPr>
          <p:cNvCxnSpPr>
            <a:cxnSpLocks/>
            <a:endCxn id="48" idx="0"/>
          </p:cNvCxnSpPr>
          <p:nvPr/>
        </p:nvCxnSpPr>
        <p:spPr>
          <a:xfrm>
            <a:off x="9180904" y="3299516"/>
            <a:ext cx="339422" cy="428988"/>
          </a:xfrm>
          <a:prstGeom prst="line">
            <a:avLst/>
          </a:prstGeom>
          <a:ln w="3175">
            <a:solidFill>
              <a:srgbClr val="A8AEB5"/>
            </a:solidFill>
            <a:prstDash val="dash"/>
          </a:ln>
        </p:spPr>
        <p:style>
          <a:lnRef idx="1">
            <a:schemeClr val="accent1"/>
          </a:lnRef>
          <a:fillRef idx="0">
            <a:schemeClr val="accent1"/>
          </a:fillRef>
          <a:effectRef idx="0">
            <a:schemeClr val="accent1"/>
          </a:effectRef>
          <a:fontRef idx="minor">
            <a:schemeClr val="tx1"/>
          </a:fontRef>
        </p:style>
      </p:cxnSp>
      <p:pic>
        <p:nvPicPr>
          <p:cNvPr id="46" name="Picture 45">
            <a:extLst>
              <a:ext uri="{FF2B5EF4-FFF2-40B4-BE49-F238E27FC236}">
                <a16:creationId xmlns:a16="http://schemas.microsoft.com/office/drawing/2014/main" id="{0AA426D5-5FE4-420D-90F8-3B62E73649A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848499" y="2254580"/>
            <a:ext cx="537092" cy="537092"/>
          </a:xfrm>
          <a:prstGeom prst="rect">
            <a:avLst/>
          </a:prstGeom>
        </p:spPr>
      </p:pic>
      <p:pic>
        <p:nvPicPr>
          <p:cNvPr id="47" name="Picture 46">
            <a:extLst>
              <a:ext uri="{FF2B5EF4-FFF2-40B4-BE49-F238E27FC236}">
                <a16:creationId xmlns:a16="http://schemas.microsoft.com/office/drawing/2014/main" id="{1AD7A263-5638-4979-84EC-EC9DD951197C}"/>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519640" y="3728504"/>
            <a:ext cx="537548" cy="537548"/>
          </a:xfrm>
          <a:prstGeom prst="rect">
            <a:avLst/>
          </a:prstGeom>
        </p:spPr>
      </p:pic>
      <p:pic>
        <p:nvPicPr>
          <p:cNvPr id="48" name="Picture 47">
            <a:extLst>
              <a:ext uri="{FF2B5EF4-FFF2-40B4-BE49-F238E27FC236}">
                <a16:creationId xmlns:a16="http://schemas.microsoft.com/office/drawing/2014/main" id="{3A808065-6DF1-488D-A2BF-E446541BB938}"/>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251552" y="3728504"/>
            <a:ext cx="537548" cy="537548"/>
          </a:xfrm>
          <a:prstGeom prst="rect">
            <a:avLst/>
          </a:prstGeom>
        </p:spPr>
      </p:pic>
      <p:pic>
        <p:nvPicPr>
          <p:cNvPr id="49" name="Picture 48">
            <a:extLst>
              <a:ext uri="{FF2B5EF4-FFF2-40B4-BE49-F238E27FC236}">
                <a16:creationId xmlns:a16="http://schemas.microsoft.com/office/drawing/2014/main" id="{63F614F5-741C-4EE4-B0CD-2BE858914879}"/>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8836951" y="2847140"/>
            <a:ext cx="548640" cy="548640"/>
          </a:xfrm>
          <a:prstGeom prst="rect">
            <a:avLst/>
          </a:prstGeom>
        </p:spPr>
      </p:pic>
      <p:pic>
        <p:nvPicPr>
          <p:cNvPr id="56" name="Picture 55">
            <a:extLst>
              <a:ext uri="{FF2B5EF4-FFF2-40B4-BE49-F238E27FC236}">
                <a16:creationId xmlns:a16="http://schemas.microsoft.com/office/drawing/2014/main" id="{07392736-8A2E-42C8-B867-2687B6BCB254}"/>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9983464" y="3728504"/>
            <a:ext cx="537548" cy="537548"/>
          </a:xfrm>
          <a:prstGeom prst="rect">
            <a:avLst/>
          </a:prstGeom>
        </p:spPr>
      </p:pic>
      <p:cxnSp>
        <p:nvCxnSpPr>
          <p:cNvPr id="58" name="Straight Connector 57">
            <a:extLst>
              <a:ext uri="{FF2B5EF4-FFF2-40B4-BE49-F238E27FC236}">
                <a16:creationId xmlns:a16="http://schemas.microsoft.com/office/drawing/2014/main" id="{7E8D9EB7-E730-4853-A82D-1241C72A082A}"/>
              </a:ext>
            </a:extLst>
          </p:cNvPr>
          <p:cNvCxnSpPr>
            <a:cxnSpLocks/>
            <a:endCxn id="56" idx="0"/>
          </p:cNvCxnSpPr>
          <p:nvPr/>
        </p:nvCxnSpPr>
        <p:spPr>
          <a:xfrm>
            <a:off x="9150571" y="3229051"/>
            <a:ext cx="1101667" cy="499453"/>
          </a:xfrm>
          <a:prstGeom prst="line">
            <a:avLst/>
          </a:prstGeom>
          <a:ln w="3175">
            <a:solidFill>
              <a:srgbClr val="A8AEB5"/>
            </a:solidFill>
            <a:prstDash val="dash"/>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3DADE4C7-1309-429F-A98E-A358DA3D482C}"/>
              </a:ext>
            </a:extLst>
          </p:cNvPr>
          <p:cNvSpPr txBox="1"/>
          <p:nvPr/>
        </p:nvSpPr>
        <p:spPr>
          <a:xfrm>
            <a:off x="6958948" y="4491740"/>
            <a:ext cx="4228072" cy="276999"/>
          </a:xfrm>
          <a:prstGeom prst="rect">
            <a:avLst/>
          </a:prstGeom>
          <a:noFill/>
        </p:spPr>
        <p:txBody>
          <a:bodyPr wrap="square" rtlCol="0">
            <a:spAutoFit/>
          </a:bodyPr>
          <a:lstStyle/>
          <a:p>
            <a:pPr algn="ctr"/>
            <a:r>
              <a:rPr lang="en-US" sz="1200" dirty="0"/>
              <a:t>Underpinning Capabilities</a:t>
            </a:r>
          </a:p>
        </p:txBody>
      </p:sp>
      <p:cxnSp>
        <p:nvCxnSpPr>
          <p:cNvPr id="70" name="Straight Connector 69">
            <a:extLst>
              <a:ext uri="{FF2B5EF4-FFF2-40B4-BE49-F238E27FC236}">
                <a16:creationId xmlns:a16="http://schemas.microsoft.com/office/drawing/2014/main" id="{2206358A-DFC5-46B9-A118-C3C6237AF54D}"/>
              </a:ext>
            </a:extLst>
          </p:cNvPr>
          <p:cNvCxnSpPr/>
          <p:nvPr/>
        </p:nvCxnSpPr>
        <p:spPr>
          <a:xfrm>
            <a:off x="7084886" y="4390140"/>
            <a:ext cx="3976196"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pic>
        <p:nvPicPr>
          <p:cNvPr id="71" name="Picture 70">
            <a:extLst>
              <a:ext uri="{FF2B5EF4-FFF2-40B4-BE49-F238E27FC236}">
                <a16:creationId xmlns:a16="http://schemas.microsoft.com/office/drawing/2014/main" id="{05C468EB-D7B1-4A91-A6D1-BB59394ED786}"/>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7063912" y="3728504"/>
            <a:ext cx="537548" cy="537548"/>
          </a:xfrm>
          <a:prstGeom prst="rect">
            <a:avLst/>
          </a:prstGeom>
        </p:spPr>
      </p:pic>
      <p:cxnSp>
        <p:nvCxnSpPr>
          <p:cNvPr id="72" name="Straight Connector 71">
            <a:extLst>
              <a:ext uri="{FF2B5EF4-FFF2-40B4-BE49-F238E27FC236}">
                <a16:creationId xmlns:a16="http://schemas.microsoft.com/office/drawing/2014/main" id="{5F3096E9-5D79-4BF9-B48E-F5A791425844}"/>
              </a:ext>
            </a:extLst>
          </p:cNvPr>
          <p:cNvCxnSpPr>
            <a:cxnSpLocks/>
          </p:cNvCxnSpPr>
          <p:nvPr/>
        </p:nvCxnSpPr>
        <p:spPr>
          <a:xfrm flipH="1">
            <a:off x="7294342" y="3229051"/>
            <a:ext cx="1617788" cy="561280"/>
          </a:xfrm>
          <a:prstGeom prst="line">
            <a:avLst/>
          </a:prstGeom>
          <a:ln w="3175">
            <a:solidFill>
              <a:srgbClr val="A8AEB5"/>
            </a:solidFill>
            <a:prstDash val="dash"/>
          </a:ln>
        </p:spPr>
        <p:style>
          <a:lnRef idx="1">
            <a:schemeClr val="accent1"/>
          </a:lnRef>
          <a:fillRef idx="0">
            <a:schemeClr val="accent1"/>
          </a:fillRef>
          <a:effectRef idx="0">
            <a:schemeClr val="accent1"/>
          </a:effectRef>
          <a:fontRef idx="minor">
            <a:schemeClr val="tx1"/>
          </a:fontRef>
        </p:style>
      </p:cxnSp>
      <p:pic>
        <p:nvPicPr>
          <p:cNvPr id="74" name="Picture 73">
            <a:extLst>
              <a:ext uri="{FF2B5EF4-FFF2-40B4-BE49-F238E27FC236}">
                <a16:creationId xmlns:a16="http://schemas.microsoft.com/office/drawing/2014/main" id="{E7749844-E511-4C94-AE4E-87459310F42B}"/>
              </a:ext>
            </a:extLst>
          </p:cNvPr>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10645685" y="3728504"/>
            <a:ext cx="537548" cy="537548"/>
          </a:xfrm>
          <a:prstGeom prst="rect">
            <a:avLst/>
          </a:prstGeom>
        </p:spPr>
      </p:pic>
      <p:cxnSp>
        <p:nvCxnSpPr>
          <p:cNvPr id="75" name="Straight Connector 74">
            <a:extLst>
              <a:ext uri="{FF2B5EF4-FFF2-40B4-BE49-F238E27FC236}">
                <a16:creationId xmlns:a16="http://schemas.microsoft.com/office/drawing/2014/main" id="{C571DFF7-99D1-44DF-BF1B-1BAF003DC102}"/>
              </a:ext>
            </a:extLst>
          </p:cNvPr>
          <p:cNvCxnSpPr>
            <a:cxnSpLocks/>
            <a:endCxn id="74" idx="0"/>
          </p:cNvCxnSpPr>
          <p:nvPr/>
        </p:nvCxnSpPr>
        <p:spPr>
          <a:xfrm>
            <a:off x="9350615" y="3229051"/>
            <a:ext cx="1563844" cy="499453"/>
          </a:xfrm>
          <a:prstGeom prst="line">
            <a:avLst/>
          </a:prstGeom>
          <a:ln w="3175">
            <a:solidFill>
              <a:srgbClr val="A8AEB5"/>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054056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33">
            <a:extLst>
              <a:ext uri="{FF2B5EF4-FFF2-40B4-BE49-F238E27FC236}">
                <a16:creationId xmlns:a16="http://schemas.microsoft.com/office/drawing/2014/main" id="{266E210A-22A1-418F-9589-0ECDEB842251}"/>
              </a:ext>
            </a:extLst>
          </p:cNvPr>
          <p:cNvPicPr>
            <a:picLocks noChangeAspect="1"/>
          </p:cNvPicPr>
          <p:nvPr/>
        </p:nvPicPr>
        <p:blipFill rotWithShape="1">
          <a:blip r:embed="rId3"/>
          <a:srcRect l="40089" t="12891"/>
          <a:stretch/>
        </p:blipFill>
        <p:spPr>
          <a:xfrm>
            <a:off x="1430523" y="1687672"/>
            <a:ext cx="5892526" cy="4627736"/>
          </a:xfrm>
          <a:prstGeom prst="rect">
            <a:avLst/>
          </a:prstGeom>
        </p:spPr>
      </p:pic>
      <p:sp>
        <p:nvSpPr>
          <p:cNvPr id="47" name="Rectangle 46">
            <a:extLst>
              <a:ext uri="{FF2B5EF4-FFF2-40B4-BE49-F238E27FC236}">
                <a16:creationId xmlns:a16="http://schemas.microsoft.com/office/drawing/2014/main" id="{4F96E993-E2E9-4282-8D7C-3A447D66EF75}"/>
              </a:ext>
            </a:extLst>
          </p:cNvPr>
          <p:cNvSpPr/>
          <p:nvPr/>
        </p:nvSpPr>
        <p:spPr>
          <a:xfrm>
            <a:off x="7390496" y="1699165"/>
            <a:ext cx="3945162" cy="4617446"/>
          </a:xfrm>
          <a:prstGeom prst="rect">
            <a:avLst/>
          </a:prstGeom>
          <a:solidFill>
            <a:srgbClr val="0016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2286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3" name="Group 2">
            <a:extLst>
              <a:ext uri="{FF2B5EF4-FFF2-40B4-BE49-F238E27FC236}">
                <a16:creationId xmlns:a16="http://schemas.microsoft.com/office/drawing/2014/main" id="{0C5A233B-8C5A-46D9-9560-D8D550A66657}"/>
              </a:ext>
            </a:extLst>
          </p:cNvPr>
          <p:cNvGrpSpPr/>
          <p:nvPr/>
        </p:nvGrpSpPr>
        <p:grpSpPr>
          <a:xfrm>
            <a:off x="7646143" y="1851313"/>
            <a:ext cx="3555678" cy="1195199"/>
            <a:chOff x="7646143" y="1699165"/>
            <a:chExt cx="3555678" cy="1195199"/>
          </a:xfrm>
        </p:grpSpPr>
        <p:sp>
          <p:nvSpPr>
            <p:cNvPr id="292" name="Annotation 3"/>
            <p:cNvSpPr txBox="1"/>
            <p:nvPr/>
          </p:nvSpPr>
          <p:spPr>
            <a:xfrm>
              <a:off x="7646143" y="1699165"/>
              <a:ext cx="3535321" cy="297517"/>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nchor="ctr">
              <a:spAutoFit/>
            </a:bodyPr>
            <a:lstStyle>
              <a:lvl1pPr>
                <a:lnSpc>
                  <a:spcPct val="100000"/>
                </a:lnSpc>
                <a:spcBef>
                  <a:spcPts val="0"/>
                </a:spcBef>
                <a:defRPr sz="3400" spc="0">
                  <a:solidFill>
                    <a:srgbClr val="000000"/>
                  </a:solidFill>
                  <a:latin typeface="+mn-lt"/>
                  <a:ea typeface="+mn-ea"/>
                  <a:cs typeface="+mn-cs"/>
                  <a:sym typeface="Lato Bold"/>
                </a:defRPr>
              </a:lvl1pPr>
            </a:lstStyle>
            <a:p>
              <a:r>
                <a:rPr lang="en-US" sz="1600" b="1" dirty="0">
                  <a:solidFill>
                    <a:schemeClr val="bg1"/>
                  </a:solidFill>
                </a:rPr>
                <a:t>Enabling the future of asset operations</a:t>
              </a:r>
            </a:p>
          </p:txBody>
        </p:sp>
        <p:sp>
          <p:nvSpPr>
            <p:cNvPr id="293" name="Lorem ipsum dolor sit amet, consectetur adipiscing elit."/>
            <p:cNvSpPr txBox="1"/>
            <p:nvPr/>
          </p:nvSpPr>
          <p:spPr>
            <a:xfrm>
              <a:off x="7666500" y="1996682"/>
              <a:ext cx="3535321" cy="897682"/>
            </a:xfrm>
            <a:prstGeom prst="rect">
              <a:avLst/>
            </a:prstGeom>
            <a:ln w="12700">
              <a:miter lim="400000"/>
            </a:ln>
            <a:extLst>
              <a:ext uri="{C572A759-6A51-4108-AA02-DFA0A04FC94B}">
                <ma14:wrappingTextBoxFlag xmlns:ma14="http://schemas.microsoft.com/office/mac/drawingml/2011/main" xmlns="" val="1"/>
              </a:ext>
            </a:extLst>
          </p:spPr>
          <p:txBody>
            <a:bodyPr wrap="square" lIns="25400" tIns="25400" rIns="25400" bIns="25400">
              <a:spAutoFit/>
            </a:bodyPr>
            <a:lstStyle>
              <a:lvl1pPr>
                <a:defRPr sz="2000" spc="39"/>
              </a:lvl1pPr>
            </a:lstStyle>
            <a:p>
              <a:r>
                <a:rPr lang="en-US" sz="1100" dirty="0">
                  <a:solidFill>
                    <a:schemeClr val="bg1"/>
                  </a:solidFill>
                </a:rPr>
                <a:t>Reimagine how you work, while improving team and asset performance. With intuitive access to all of your data, you can orchestrate your end-to-end asset-related workflows across all your data, with simplified collaboration throughout the organization.</a:t>
              </a:r>
            </a:p>
          </p:txBody>
        </p:sp>
      </p:grpSp>
      <p:sp>
        <p:nvSpPr>
          <p:cNvPr id="33" name="Title 2">
            <a:extLst>
              <a:ext uri="{FF2B5EF4-FFF2-40B4-BE49-F238E27FC236}">
                <a16:creationId xmlns:a16="http://schemas.microsoft.com/office/drawing/2014/main" id="{A5E82B09-E7D1-43F3-BC5C-7791D09CCE63}"/>
              </a:ext>
            </a:extLst>
          </p:cNvPr>
          <p:cNvSpPr txBox="1">
            <a:spLocks/>
          </p:cNvSpPr>
          <p:nvPr/>
        </p:nvSpPr>
        <p:spPr>
          <a:xfrm>
            <a:off x="1507999" y="691496"/>
            <a:ext cx="9827660" cy="535531"/>
          </a:xfrm>
          <a:prstGeom prst="rect">
            <a:avLst/>
          </a:prstGeom>
        </p:spPr>
        <p:txBody>
          <a:bodyPr/>
          <a:lstStyle>
            <a:lvl1pPr algn="ctr" defTabSz="914446" rtl="0" eaLnBrk="1" latinLnBrk="0" hangingPunct="1">
              <a:lnSpc>
                <a:spcPct val="90000"/>
              </a:lnSpc>
              <a:spcBef>
                <a:spcPct val="0"/>
              </a:spcBef>
              <a:buNone/>
              <a:defRPr sz="3001" b="1" kern="1200">
                <a:solidFill>
                  <a:srgbClr val="001639"/>
                </a:solidFill>
                <a:latin typeface="Calibri" panose="020F0502020204030204" pitchFamily="34" charset="0"/>
                <a:ea typeface="+mj-ea"/>
                <a:cs typeface="Calibri" panose="020F0502020204030204" pitchFamily="34" charset="0"/>
              </a:defRPr>
            </a:lvl1pPr>
          </a:lstStyle>
          <a:p>
            <a:r>
              <a:rPr lang="nb-NO" sz="3200" dirty="0"/>
              <a:t>Digital twin is a virtual and dynamic representation of a full-scale energy asset</a:t>
            </a:r>
          </a:p>
        </p:txBody>
      </p:sp>
      <p:pic>
        <p:nvPicPr>
          <p:cNvPr id="39" name="Content Placeholder 1">
            <a:extLst>
              <a:ext uri="{FF2B5EF4-FFF2-40B4-BE49-F238E27FC236}">
                <a16:creationId xmlns:a16="http://schemas.microsoft.com/office/drawing/2014/main" id="{5F13D1D0-B6DB-4A64-B52C-74EBCE65E613}"/>
              </a:ext>
            </a:extLst>
          </p:cNvPr>
          <p:cNvPicPr>
            <a:picLocks noChangeAspect="1"/>
          </p:cNvPicPr>
          <p:nvPr/>
        </p:nvPicPr>
        <p:blipFill rotWithShape="1">
          <a:blip r:embed="rId4">
            <a:extLst>
              <a:ext uri="{28A0092B-C50C-407E-A947-70E740481C1C}">
                <a14:useLocalDpi xmlns:a14="http://schemas.microsoft.com/office/drawing/2010/main" val="0"/>
              </a:ext>
            </a:extLst>
          </a:blip>
          <a:srcRect t="10183" b="9775"/>
          <a:stretch/>
        </p:blipFill>
        <p:spPr>
          <a:xfrm>
            <a:off x="4200342" y="4907671"/>
            <a:ext cx="3122707" cy="1401620"/>
          </a:xfrm>
          <a:prstGeom prst="rect">
            <a:avLst/>
          </a:prstGeom>
        </p:spPr>
      </p:pic>
      <p:pic>
        <p:nvPicPr>
          <p:cNvPr id="40" name="Picture 39">
            <a:extLst>
              <a:ext uri="{FF2B5EF4-FFF2-40B4-BE49-F238E27FC236}">
                <a16:creationId xmlns:a16="http://schemas.microsoft.com/office/drawing/2014/main" id="{36DE8960-5760-4FD0-B6A5-50D89099CDCA}"/>
              </a:ext>
            </a:extLst>
          </p:cNvPr>
          <p:cNvPicPr>
            <a:picLocks noChangeAspect="1"/>
          </p:cNvPicPr>
          <p:nvPr/>
        </p:nvPicPr>
        <p:blipFill>
          <a:blip r:embed="rId5"/>
          <a:stretch>
            <a:fillRect/>
          </a:stretch>
        </p:blipFill>
        <p:spPr>
          <a:xfrm>
            <a:off x="1502607" y="4907671"/>
            <a:ext cx="2631195" cy="1401620"/>
          </a:xfrm>
          <a:prstGeom prst="rect">
            <a:avLst/>
          </a:prstGeom>
        </p:spPr>
      </p:pic>
      <p:pic>
        <p:nvPicPr>
          <p:cNvPr id="8" name="Picture 7">
            <a:extLst>
              <a:ext uri="{FF2B5EF4-FFF2-40B4-BE49-F238E27FC236}">
                <a16:creationId xmlns:a16="http://schemas.microsoft.com/office/drawing/2014/main" id="{0B9DDB88-6283-48AD-8CA3-6B46949CA059}"/>
              </a:ext>
            </a:extLst>
          </p:cNvPr>
          <p:cNvPicPr>
            <a:picLocks noChangeAspect="1"/>
          </p:cNvPicPr>
          <p:nvPr/>
        </p:nvPicPr>
        <p:blipFill>
          <a:blip r:embed="rId6"/>
          <a:stretch>
            <a:fillRect/>
          </a:stretch>
        </p:blipFill>
        <p:spPr>
          <a:xfrm>
            <a:off x="7764523" y="3303109"/>
            <a:ext cx="3227684" cy="2756905"/>
          </a:xfrm>
          <a:prstGeom prst="rect">
            <a:avLst/>
          </a:prstGeom>
        </p:spPr>
      </p:pic>
      <p:sp>
        <p:nvSpPr>
          <p:cNvPr id="58" name="Rectangle 57">
            <a:extLst>
              <a:ext uri="{FF2B5EF4-FFF2-40B4-BE49-F238E27FC236}">
                <a16:creationId xmlns:a16="http://schemas.microsoft.com/office/drawing/2014/main" id="{6C27340C-5590-4C0C-8275-7ABA9999A5B7}"/>
              </a:ext>
            </a:extLst>
          </p:cNvPr>
          <p:cNvSpPr/>
          <p:nvPr/>
        </p:nvSpPr>
        <p:spPr>
          <a:xfrm>
            <a:off x="1430523" y="4537136"/>
            <a:ext cx="5892526" cy="369332"/>
          </a:xfrm>
          <a:prstGeom prst="rect">
            <a:avLst/>
          </a:prstGeom>
          <a:solidFill>
            <a:schemeClr val="accent2"/>
          </a:solidFill>
        </p:spPr>
        <p:txBody>
          <a:bodyPr wrap="square">
            <a:spAutoFit/>
          </a:bodyPr>
          <a:lstStyle/>
          <a:p>
            <a:pPr algn="ctr"/>
            <a:r>
              <a:rPr lang="en-US" sz="1800" b="1" dirty="0">
                <a:solidFill>
                  <a:schemeClr val="bg1"/>
                </a:solidFill>
              </a:rPr>
              <a:t>Kognitwin™ Energy a dynamic digital replica of your facility</a:t>
            </a:r>
          </a:p>
        </p:txBody>
      </p:sp>
      <p:grpSp>
        <p:nvGrpSpPr>
          <p:cNvPr id="2" name="Group 1">
            <a:extLst>
              <a:ext uri="{FF2B5EF4-FFF2-40B4-BE49-F238E27FC236}">
                <a16:creationId xmlns:a16="http://schemas.microsoft.com/office/drawing/2014/main" id="{14D6CC24-D035-4433-83BF-63955FDB0DD5}"/>
              </a:ext>
            </a:extLst>
          </p:cNvPr>
          <p:cNvGrpSpPr/>
          <p:nvPr/>
        </p:nvGrpSpPr>
        <p:grpSpPr>
          <a:xfrm>
            <a:off x="1430523" y="4901554"/>
            <a:ext cx="1381507" cy="1401620"/>
            <a:chOff x="432610" y="6571202"/>
            <a:chExt cx="2837079" cy="3036839"/>
          </a:xfrm>
        </p:grpSpPr>
        <p:pic>
          <p:nvPicPr>
            <p:cNvPr id="12" name="Picture 11">
              <a:extLst>
                <a:ext uri="{FF2B5EF4-FFF2-40B4-BE49-F238E27FC236}">
                  <a16:creationId xmlns:a16="http://schemas.microsoft.com/office/drawing/2014/main" id="{8054EF75-FADB-492B-BBC3-F400C9C04D32}"/>
                </a:ext>
              </a:extLst>
            </p:cNvPr>
            <p:cNvPicPr>
              <a:picLocks noChangeAspect="1"/>
            </p:cNvPicPr>
            <p:nvPr/>
          </p:nvPicPr>
          <p:blipFill rotWithShape="1">
            <a:blip r:embed="rId7"/>
            <a:srcRect t="11805" r="57449" b="7222"/>
            <a:stretch/>
          </p:blipFill>
          <p:spPr>
            <a:xfrm>
              <a:off x="432610" y="6571202"/>
              <a:ext cx="2837079" cy="3036839"/>
            </a:xfrm>
            <a:prstGeom prst="rect">
              <a:avLst/>
            </a:prstGeom>
          </p:spPr>
        </p:pic>
        <p:pic>
          <p:nvPicPr>
            <p:cNvPr id="13" name="Picture 12">
              <a:extLst>
                <a:ext uri="{FF2B5EF4-FFF2-40B4-BE49-F238E27FC236}">
                  <a16:creationId xmlns:a16="http://schemas.microsoft.com/office/drawing/2014/main" id="{814F63DD-B0BB-4517-B551-309E6A160F20}"/>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32610" y="6571202"/>
              <a:ext cx="769619" cy="217305"/>
            </a:xfrm>
            <a:prstGeom prst="rect">
              <a:avLst/>
            </a:prstGeom>
          </p:spPr>
        </p:pic>
        <p:sp>
          <p:nvSpPr>
            <p:cNvPr id="16" name="TextBox 15">
              <a:extLst>
                <a:ext uri="{FF2B5EF4-FFF2-40B4-BE49-F238E27FC236}">
                  <a16:creationId xmlns:a16="http://schemas.microsoft.com/office/drawing/2014/main" id="{FC5FBB92-27E3-4B49-A30F-C9546EE1C724}"/>
                </a:ext>
              </a:extLst>
            </p:cNvPr>
            <p:cNvSpPr txBox="1"/>
            <p:nvPr/>
          </p:nvSpPr>
          <p:spPr>
            <a:xfrm>
              <a:off x="626240" y="6821020"/>
              <a:ext cx="939619" cy="217306"/>
            </a:xfrm>
            <a:prstGeom prst="rect">
              <a:avLst/>
            </a:prstGeom>
            <a:solidFill>
              <a:schemeClr val="bg1"/>
            </a:solidFill>
            <a:ln>
              <a:solidFill>
                <a:schemeClr val="bg1"/>
              </a:solidFill>
            </a:ln>
          </p:spPr>
          <p:txBody>
            <a:bodyPr wrap="square" lIns="0" tIns="0" rIns="0" bIns="0" rtlCol="0" anchor="ctr">
              <a:noAutofit/>
            </a:bodyPr>
            <a:lstStyle/>
            <a:p>
              <a:r>
                <a:rPr lang="en-US" sz="300" dirty="0"/>
                <a:t>T-42-0001 - Methanol</a:t>
              </a:r>
            </a:p>
          </p:txBody>
        </p:sp>
      </p:grpSp>
    </p:spTree>
    <p:extLst>
      <p:ext uri="{BB962C8B-B14F-4D97-AF65-F5344CB8AC3E}">
        <p14:creationId xmlns:p14="http://schemas.microsoft.com/office/powerpoint/2010/main" val="9121662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EA950-F0DA-4B39-996E-68476C6E92B7}"/>
              </a:ext>
            </a:extLst>
          </p:cNvPr>
          <p:cNvSpPr>
            <a:spLocks noGrp="1"/>
          </p:cNvSpPr>
          <p:nvPr>
            <p:ph type="title"/>
          </p:nvPr>
        </p:nvSpPr>
        <p:spPr/>
        <p:txBody>
          <a:bodyPr/>
          <a:lstStyle/>
          <a:p>
            <a:r>
              <a:rPr lang="en-US" dirty="0"/>
              <a:t>The digital work surface</a:t>
            </a:r>
          </a:p>
        </p:txBody>
      </p:sp>
      <p:sp>
        <p:nvSpPr>
          <p:cNvPr id="5" name="Slide Number Placeholder 4">
            <a:extLst>
              <a:ext uri="{FF2B5EF4-FFF2-40B4-BE49-F238E27FC236}">
                <a16:creationId xmlns:a16="http://schemas.microsoft.com/office/drawing/2014/main" id="{00E91880-1EA5-4F41-BF69-2293675DD6CE}"/>
              </a:ext>
            </a:extLst>
          </p:cNvPr>
          <p:cNvSpPr>
            <a:spLocks noGrp="1"/>
          </p:cNvSpPr>
          <p:nvPr>
            <p:ph type="sldNum" sz="quarter" idx="18"/>
          </p:nvPr>
        </p:nvSpPr>
        <p:spPr/>
        <p:txBody>
          <a:bodyPr/>
          <a:lstStyle/>
          <a:p>
            <a:fld id="{7A3F00B2-786C-401B-9EB3-42A9D0DD4A9F}" type="slidenum">
              <a:rPr lang="nb-NO" smtClean="0"/>
              <a:pPr/>
              <a:t>7</a:t>
            </a:fld>
            <a:endParaRPr lang="nb-NO"/>
          </a:p>
        </p:txBody>
      </p:sp>
      <p:grpSp>
        <p:nvGrpSpPr>
          <p:cNvPr id="3" name="Group 2">
            <a:extLst>
              <a:ext uri="{FF2B5EF4-FFF2-40B4-BE49-F238E27FC236}">
                <a16:creationId xmlns:a16="http://schemas.microsoft.com/office/drawing/2014/main" id="{86794C6D-3950-42EE-9560-11E74F67D932}"/>
              </a:ext>
            </a:extLst>
          </p:cNvPr>
          <p:cNvGrpSpPr/>
          <p:nvPr/>
        </p:nvGrpSpPr>
        <p:grpSpPr>
          <a:xfrm>
            <a:off x="1619683" y="1112708"/>
            <a:ext cx="9617183" cy="5053594"/>
            <a:chOff x="1619683" y="1112708"/>
            <a:chExt cx="9617183" cy="5053594"/>
          </a:xfrm>
        </p:grpSpPr>
        <p:pic>
          <p:nvPicPr>
            <p:cNvPr id="9" name="Picture 8">
              <a:extLst>
                <a:ext uri="{FF2B5EF4-FFF2-40B4-BE49-F238E27FC236}">
                  <a16:creationId xmlns:a16="http://schemas.microsoft.com/office/drawing/2014/main" id="{DBE103BD-D10C-401B-9445-642E6D563D19}"/>
                </a:ext>
              </a:extLst>
            </p:cNvPr>
            <p:cNvPicPr>
              <a:picLocks noChangeAspect="1"/>
            </p:cNvPicPr>
            <p:nvPr/>
          </p:nvPicPr>
          <p:blipFill rotWithShape="1">
            <a:blip r:embed="rId3"/>
            <a:srcRect t="7813" b="5428"/>
            <a:stretch/>
          </p:blipFill>
          <p:spPr>
            <a:xfrm>
              <a:off x="1619683" y="1652613"/>
              <a:ext cx="6740940" cy="3289683"/>
            </a:xfrm>
            <a:prstGeom prst="rect">
              <a:avLst/>
            </a:prstGeom>
            <a:ln>
              <a:noFill/>
            </a:ln>
          </p:spPr>
        </p:pic>
        <p:sp>
          <p:nvSpPr>
            <p:cNvPr id="11" name="Freeform: Shape 10">
              <a:extLst>
                <a:ext uri="{FF2B5EF4-FFF2-40B4-BE49-F238E27FC236}">
                  <a16:creationId xmlns:a16="http://schemas.microsoft.com/office/drawing/2014/main" id="{FFE3793C-2E46-4918-A1B7-FCDC625DEA91}"/>
                </a:ext>
              </a:extLst>
            </p:cNvPr>
            <p:cNvSpPr/>
            <p:nvPr/>
          </p:nvSpPr>
          <p:spPr>
            <a:xfrm>
              <a:off x="7588265" y="3512452"/>
              <a:ext cx="3633556" cy="2653850"/>
            </a:xfrm>
            <a:custGeom>
              <a:avLst/>
              <a:gdLst>
                <a:gd name="connsiteX0" fmla="*/ 3595456 w 3595456"/>
                <a:gd name="connsiteY0" fmla="*/ 639193 h 2610035"/>
                <a:gd name="connsiteX1" fmla="*/ 124287 w 3595456"/>
                <a:gd name="connsiteY1" fmla="*/ 0 h 2610035"/>
                <a:gd name="connsiteX2" fmla="*/ 0 w 3595456"/>
                <a:gd name="connsiteY2" fmla="*/ 195309 h 2610035"/>
                <a:gd name="connsiteX3" fmla="*/ 381739 w 3595456"/>
                <a:gd name="connsiteY3" fmla="*/ 2610035 h 2610035"/>
                <a:gd name="connsiteX4" fmla="*/ 381739 w 3595456"/>
                <a:gd name="connsiteY4" fmla="*/ 2610035 h 2610035"/>
                <a:gd name="connsiteX0" fmla="*/ 3633556 w 3633556"/>
                <a:gd name="connsiteY0" fmla="*/ 574423 h 2610035"/>
                <a:gd name="connsiteX1" fmla="*/ 124287 w 3633556"/>
                <a:gd name="connsiteY1" fmla="*/ 0 h 2610035"/>
                <a:gd name="connsiteX2" fmla="*/ 0 w 3633556"/>
                <a:gd name="connsiteY2" fmla="*/ 195309 h 2610035"/>
                <a:gd name="connsiteX3" fmla="*/ 381739 w 3633556"/>
                <a:gd name="connsiteY3" fmla="*/ 2610035 h 2610035"/>
                <a:gd name="connsiteX4" fmla="*/ 381739 w 3633556"/>
                <a:gd name="connsiteY4" fmla="*/ 2610035 h 2610035"/>
                <a:gd name="connsiteX0" fmla="*/ 3633556 w 3633556"/>
                <a:gd name="connsiteY0" fmla="*/ 574423 h 2792398"/>
                <a:gd name="connsiteX1" fmla="*/ 124287 w 3633556"/>
                <a:gd name="connsiteY1" fmla="*/ 0 h 2792398"/>
                <a:gd name="connsiteX2" fmla="*/ 0 w 3633556"/>
                <a:gd name="connsiteY2" fmla="*/ 195309 h 2792398"/>
                <a:gd name="connsiteX3" fmla="*/ 381739 w 3633556"/>
                <a:gd name="connsiteY3" fmla="*/ 2610035 h 2792398"/>
                <a:gd name="connsiteX4" fmla="*/ 341734 w 3633556"/>
                <a:gd name="connsiteY4" fmla="*/ 2623370 h 2792398"/>
                <a:gd name="connsiteX0" fmla="*/ 3633556 w 3633556"/>
                <a:gd name="connsiteY0" fmla="*/ 574423 h 2825217"/>
                <a:gd name="connsiteX1" fmla="*/ 124287 w 3633556"/>
                <a:gd name="connsiteY1" fmla="*/ 0 h 2825217"/>
                <a:gd name="connsiteX2" fmla="*/ 0 w 3633556"/>
                <a:gd name="connsiteY2" fmla="*/ 195309 h 2825217"/>
                <a:gd name="connsiteX3" fmla="*/ 330304 w 3633556"/>
                <a:gd name="connsiteY3" fmla="*/ 2653850 h 2825217"/>
                <a:gd name="connsiteX4" fmla="*/ 341734 w 3633556"/>
                <a:gd name="connsiteY4" fmla="*/ 2623370 h 2825217"/>
                <a:gd name="connsiteX0" fmla="*/ 3633556 w 3633556"/>
                <a:gd name="connsiteY0" fmla="*/ 574423 h 2653850"/>
                <a:gd name="connsiteX1" fmla="*/ 124287 w 3633556"/>
                <a:gd name="connsiteY1" fmla="*/ 0 h 2653850"/>
                <a:gd name="connsiteX2" fmla="*/ 0 w 3633556"/>
                <a:gd name="connsiteY2" fmla="*/ 195309 h 2653850"/>
                <a:gd name="connsiteX3" fmla="*/ 330304 w 3633556"/>
                <a:gd name="connsiteY3" fmla="*/ 2653850 h 2653850"/>
              </a:gdLst>
              <a:ahLst/>
              <a:cxnLst>
                <a:cxn ang="0">
                  <a:pos x="connsiteX0" y="connsiteY0"/>
                </a:cxn>
                <a:cxn ang="0">
                  <a:pos x="connsiteX1" y="connsiteY1"/>
                </a:cxn>
                <a:cxn ang="0">
                  <a:pos x="connsiteX2" y="connsiteY2"/>
                </a:cxn>
                <a:cxn ang="0">
                  <a:pos x="connsiteX3" y="connsiteY3"/>
                </a:cxn>
              </a:cxnLst>
              <a:rect l="l" t="t" r="r" b="b"/>
              <a:pathLst>
                <a:path w="3633556" h="2653850">
                  <a:moveTo>
                    <a:pt x="3633556" y="574423"/>
                  </a:moveTo>
                  <a:lnTo>
                    <a:pt x="124287" y="0"/>
                  </a:lnTo>
                  <a:lnTo>
                    <a:pt x="0" y="195309"/>
                  </a:lnTo>
                  <a:cubicBezTo>
                    <a:pt x="127246" y="1000218"/>
                    <a:pt x="273348" y="2249173"/>
                    <a:pt x="330304" y="2653850"/>
                  </a:cubicBezTo>
                </a:path>
              </a:pathLst>
            </a:custGeom>
            <a:solidFill>
              <a:schemeClr val="accent2">
                <a:lumMod val="75000"/>
                <a:alpha val="57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10" name="Picture 9">
              <a:extLst>
                <a:ext uri="{FF2B5EF4-FFF2-40B4-BE49-F238E27FC236}">
                  <a16:creationId xmlns:a16="http://schemas.microsoft.com/office/drawing/2014/main" id="{ECE598C7-9E6F-4AE8-97E8-A0C0D414A992}"/>
                </a:ext>
              </a:extLst>
            </p:cNvPr>
            <p:cNvPicPr>
              <a:picLocks noChangeAspect="1"/>
            </p:cNvPicPr>
            <p:nvPr/>
          </p:nvPicPr>
          <p:blipFill rotWithShape="1">
            <a:blip r:embed="rId4"/>
            <a:srcRect t="24279" r="50533" b="20932"/>
            <a:stretch/>
          </p:blipFill>
          <p:spPr>
            <a:xfrm>
              <a:off x="7939954" y="4102338"/>
              <a:ext cx="3279277" cy="2043069"/>
            </a:xfrm>
            <a:prstGeom prst="rect">
              <a:avLst/>
            </a:prstGeom>
            <a:ln w="6350">
              <a:solidFill>
                <a:schemeClr val="tx1"/>
              </a:solidFill>
            </a:ln>
          </p:spPr>
        </p:pic>
        <p:sp>
          <p:nvSpPr>
            <p:cNvPr id="12" name="Oval 11">
              <a:extLst>
                <a:ext uri="{FF2B5EF4-FFF2-40B4-BE49-F238E27FC236}">
                  <a16:creationId xmlns:a16="http://schemas.microsoft.com/office/drawing/2014/main" id="{ECE20415-67A3-41AC-A115-BDDB67FA95EA}"/>
                </a:ext>
              </a:extLst>
            </p:cNvPr>
            <p:cNvSpPr/>
            <p:nvPr/>
          </p:nvSpPr>
          <p:spPr>
            <a:xfrm>
              <a:off x="7573413" y="3502925"/>
              <a:ext cx="225863" cy="225863"/>
            </a:xfrm>
            <a:prstGeom prst="ellipse">
              <a:avLst/>
            </a:prstGeom>
            <a:solidFill>
              <a:schemeClr val="bg1"/>
            </a:solidFill>
            <a:ln>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3" name="Picture 12">
              <a:extLst>
                <a:ext uri="{FF2B5EF4-FFF2-40B4-BE49-F238E27FC236}">
                  <a16:creationId xmlns:a16="http://schemas.microsoft.com/office/drawing/2014/main" id="{939892BE-9A79-479D-BA36-3A1464D01435}"/>
                </a:ext>
              </a:extLst>
            </p:cNvPr>
            <p:cNvPicPr>
              <a:picLocks noChangeAspect="1"/>
            </p:cNvPicPr>
            <p:nvPr/>
          </p:nvPicPr>
          <p:blipFill rotWithShape="1">
            <a:blip r:embed="rId4"/>
            <a:srcRect t="24279" r="50533" b="20932"/>
            <a:stretch/>
          </p:blipFill>
          <p:spPr>
            <a:xfrm>
              <a:off x="7581410" y="3512452"/>
              <a:ext cx="209868" cy="20680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14" name="TextBox 13">
              <a:extLst>
                <a:ext uri="{FF2B5EF4-FFF2-40B4-BE49-F238E27FC236}">
                  <a16:creationId xmlns:a16="http://schemas.microsoft.com/office/drawing/2014/main" id="{4F31CA97-FD03-4DF8-92E2-EE8D32A4B366}"/>
                </a:ext>
              </a:extLst>
            </p:cNvPr>
            <p:cNvSpPr txBox="1"/>
            <p:nvPr/>
          </p:nvSpPr>
          <p:spPr>
            <a:xfrm>
              <a:off x="9696431" y="3648895"/>
              <a:ext cx="184731" cy="261610"/>
            </a:xfrm>
            <a:prstGeom prst="rect">
              <a:avLst/>
            </a:prstGeom>
            <a:noFill/>
          </p:spPr>
          <p:txBody>
            <a:bodyPr wrap="none" rtlCol="0">
              <a:spAutoFit/>
            </a:bodyPr>
            <a:lstStyle/>
            <a:p>
              <a:endParaRPr lang="en-US" sz="1100" b="1" dirty="0"/>
            </a:p>
          </p:txBody>
        </p:sp>
        <p:pic>
          <p:nvPicPr>
            <p:cNvPr id="16" name="Picture 15">
              <a:extLst>
                <a:ext uri="{FF2B5EF4-FFF2-40B4-BE49-F238E27FC236}">
                  <a16:creationId xmlns:a16="http://schemas.microsoft.com/office/drawing/2014/main" id="{E096CED8-EA00-4541-9906-70756AE8C6F1}"/>
                </a:ext>
              </a:extLst>
            </p:cNvPr>
            <p:cNvPicPr>
              <a:picLocks noChangeAspect="1"/>
            </p:cNvPicPr>
            <p:nvPr/>
          </p:nvPicPr>
          <p:blipFill rotWithShape="1">
            <a:blip r:embed="rId5"/>
            <a:srcRect l="12167" t="22059" r="52344" b="20315"/>
            <a:stretch/>
          </p:blipFill>
          <p:spPr>
            <a:xfrm>
              <a:off x="9086709" y="1288496"/>
              <a:ext cx="2149964" cy="2327360"/>
            </a:xfrm>
            <a:prstGeom prst="rect">
              <a:avLst/>
            </a:prstGeom>
          </p:spPr>
        </p:pic>
        <p:sp>
          <p:nvSpPr>
            <p:cNvPr id="18" name="Rectangle 17">
              <a:extLst>
                <a:ext uri="{FF2B5EF4-FFF2-40B4-BE49-F238E27FC236}">
                  <a16:creationId xmlns:a16="http://schemas.microsoft.com/office/drawing/2014/main" id="{B262B2B0-9E81-4DA5-981C-FA3F7BB7950D}"/>
                </a:ext>
              </a:extLst>
            </p:cNvPr>
            <p:cNvSpPr/>
            <p:nvPr/>
          </p:nvSpPr>
          <p:spPr>
            <a:xfrm>
              <a:off x="7922317" y="3920032"/>
              <a:ext cx="3314549" cy="169269"/>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Always On Simulation + DCS Data</a:t>
              </a:r>
            </a:p>
          </p:txBody>
        </p:sp>
        <p:sp>
          <p:nvSpPr>
            <p:cNvPr id="19" name="Rectangle 18">
              <a:extLst>
                <a:ext uri="{FF2B5EF4-FFF2-40B4-BE49-F238E27FC236}">
                  <a16:creationId xmlns:a16="http://schemas.microsoft.com/office/drawing/2014/main" id="{9D1278EF-1C46-4C2C-B366-EE1DDB14487C}"/>
                </a:ext>
              </a:extLst>
            </p:cNvPr>
            <p:cNvSpPr/>
            <p:nvPr/>
          </p:nvSpPr>
          <p:spPr>
            <a:xfrm>
              <a:off x="9104151" y="1112708"/>
              <a:ext cx="2132522" cy="169269"/>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extualized Tools &amp; Data</a:t>
              </a:r>
            </a:p>
          </p:txBody>
        </p:sp>
        <p:cxnSp>
          <p:nvCxnSpPr>
            <p:cNvPr id="21" name="Straight Connector 20">
              <a:extLst>
                <a:ext uri="{FF2B5EF4-FFF2-40B4-BE49-F238E27FC236}">
                  <a16:creationId xmlns:a16="http://schemas.microsoft.com/office/drawing/2014/main" id="{28519183-898A-485A-B647-49F0EE381D78}"/>
                </a:ext>
              </a:extLst>
            </p:cNvPr>
            <p:cNvCxnSpPr>
              <a:endCxn id="19" idx="1"/>
            </p:cNvCxnSpPr>
            <p:nvPr/>
          </p:nvCxnSpPr>
          <p:spPr>
            <a:xfrm flipV="1">
              <a:off x="7573413" y="1197343"/>
              <a:ext cx="1530738" cy="1254833"/>
            </a:xfrm>
            <a:prstGeom prst="line">
              <a:avLst/>
            </a:prstGeom>
            <a:ln w="381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928971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0E91880-1EA5-4F41-BF69-2293675DD6CE}"/>
              </a:ext>
            </a:extLst>
          </p:cNvPr>
          <p:cNvSpPr>
            <a:spLocks noGrp="1"/>
          </p:cNvSpPr>
          <p:nvPr>
            <p:ph type="sldNum" sz="quarter" idx="18"/>
          </p:nvPr>
        </p:nvSpPr>
        <p:spPr/>
        <p:txBody>
          <a:bodyPr/>
          <a:lstStyle/>
          <a:p>
            <a:fld id="{7A3F00B2-786C-401B-9EB3-42A9D0DD4A9F}" type="slidenum">
              <a:rPr lang="nb-NO" smtClean="0"/>
              <a:pPr/>
              <a:t>8</a:t>
            </a:fld>
            <a:endParaRPr lang="nb-NO"/>
          </a:p>
        </p:txBody>
      </p:sp>
      <p:grpSp>
        <p:nvGrpSpPr>
          <p:cNvPr id="20" name="Group 19">
            <a:extLst>
              <a:ext uri="{FF2B5EF4-FFF2-40B4-BE49-F238E27FC236}">
                <a16:creationId xmlns:a16="http://schemas.microsoft.com/office/drawing/2014/main" id="{D9A9B7CF-49BF-4CAB-9E4D-DE9531FA9FB3}"/>
              </a:ext>
            </a:extLst>
          </p:cNvPr>
          <p:cNvGrpSpPr/>
          <p:nvPr/>
        </p:nvGrpSpPr>
        <p:grpSpPr>
          <a:xfrm>
            <a:off x="2248149" y="-88900"/>
            <a:ext cx="15580018" cy="8186918"/>
            <a:chOff x="1619683" y="1112708"/>
            <a:chExt cx="9617183" cy="5053594"/>
          </a:xfrm>
        </p:grpSpPr>
        <p:pic>
          <p:nvPicPr>
            <p:cNvPr id="22" name="Picture 21">
              <a:extLst>
                <a:ext uri="{FF2B5EF4-FFF2-40B4-BE49-F238E27FC236}">
                  <a16:creationId xmlns:a16="http://schemas.microsoft.com/office/drawing/2014/main" id="{516E373D-B174-4986-89A2-6F41E4275CF9}"/>
                </a:ext>
              </a:extLst>
            </p:cNvPr>
            <p:cNvPicPr>
              <a:picLocks noChangeAspect="1"/>
            </p:cNvPicPr>
            <p:nvPr/>
          </p:nvPicPr>
          <p:blipFill rotWithShape="1">
            <a:blip r:embed="rId3"/>
            <a:srcRect t="7813" b="5428"/>
            <a:stretch/>
          </p:blipFill>
          <p:spPr>
            <a:xfrm>
              <a:off x="1619683" y="1652613"/>
              <a:ext cx="6740940" cy="3289683"/>
            </a:xfrm>
            <a:prstGeom prst="rect">
              <a:avLst/>
            </a:prstGeom>
            <a:ln>
              <a:noFill/>
            </a:ln>
          </p:spPr>
        </p:pic>
        <p:sp>
          <p:nvSpPr>
            <p:cNvPr id="23" name="Freeform: Shape 22">
              <a:extLst>
                <a:ext uri="{FF2B5EF4-FFF2-40B4-BE49-F238E27FC236}">
                  <a16:creationId xmlns:a16="http://schemas.microsoft.com/office/drawing/2014/main" id="{494ACF5A-3DB5-412C-825C-E31419711AF1}"/>
                </a:ext>
              </a:extLst>
            </p:cNvPr>
            <p:cNvSpPr/>
            <p:nvPr/>
          </p:nvSpPr>
          <p:spPr>
            <a:xfrm>
              <a:off x="7588265" y="3512452"/>
              <a:ext cx="3633556" cy="2653850"/>
            </a:xfrm>
            <a:custGeom>
              <a:avLst/>
              <a:gdLst>
                <a:gd name="connsiteX0" fmla="*/ 3595456 w 3595456"/>
                <a:gd name="connsiteY0" fmla="*/ 639193 h 2610035"/>
                <a:gd name="connsiteX1" fmla="*/ 124287 w 3595456"/>
                <a:gd name="connsiteY1" fmla="*/ 0 h 2610035"/>
                <a:gd name="connsiteX2" fmla="*/ 0 w 3595456"/>
                <a:gd name="connsiteY2" fmla="*/ 195309 h 2610035"/>
                <a:gd name="connsiteX3" fmla="*/ 381739 w 3595456"/>
                <a:gd name="connsiteY3" fmla="*/ 2610035 h 2610035"/>
                <a:gd name="connsiteX4" fmla="*/ 381739 w 3595456"/>
                <a:gd name="connsiteY4" fmla="*/ 2610035 h 2610035"/>
                <a:gd name="connsiteX0" fmla="*/ 3633556 w 3633556"/>
                <a:gd name="connsiteY0" fmla="*/ 574423 h 2610035"/>
                <a:gd name="connsiteX1" fmla="*/ 124287 w 3633556"/>
                <a:gd name="connsiteY1" fmla="*/ 0 h 2610035"/>
                <a:gd name="connsiteX2" fmla="*/ 0 w 3633556"/>
                <a:gd name="connsiteY2" fmla="*/ 195309 h 2610035"/>
                <a:gd name="connsiteX3" fmla="*/ 381739 w 3633556"/>
                <a:gd name="connsiteY3" fmla="*/ 2610035 h 2610035"/>
                <a:gd name="connsiteX4" fmla="*/ 381739 w 3633556"/>
                <a:gd name="connsiteY4" fmla="*/ 2610035 h 2610035"/>
                <a:gd name="connsiteX0" fmla="*/ 3633556 w 3633556"/>
                <a:gd name="connsiteY0" fmla="*/ 574423 h 2792398"/>
                <a:gd name="connsiteX1" fmla="*/ 124287 w 3633556"/>
                <a:gd name="connsiteY1" fmla="*/ 0 h 2792398"/>
                <a:gd name="connsiteX2" fmla="*/ 0 w 3633556"/>
                <a:gd name="connsiteY2" fmla="*/ 195309 h 2792398"/>
                <a:gd name="connsiteX3" fmla="*/ 381739 w 3633556"/>
                <a:gd name="connsiteY3" fmla="*/ 2610035 h 2792398"/>
                <a:gd name="connsiteX4" fmla="*/ 341734 w 3633556"/>
                <a:gd name="connsiteY4" fmla="*/ 2623370 h 2792398"/>
                <a:gd name="connsiteX0" fmla="*/ 3633556 w 3633556"/>
                <a:gd name="connsiteY0" fmla="*/ 574423 h 2825217"/>
                <a:gd name="connsiteX1" fmla="*/ 124287 w 3633556"/>
                <a:gd name="connsiteY1" fmla="*/ 0 h 2825217"/>
                <a:gd name="connsiteX2" fmla="*/ 0 w 3633556"/>
                <a:gd name="connsiteY2" fmla="*/ 195309 h 2825217"/>
                <a:gd name="connsiteX3" fmla="*/ 330304 w 3633556"/>
                <a:gd name="connsiteY3" fmla="*/ 2653850 h 2825217"/>
                <a:gd name="connsiteX4" fmla="*/ 341734 w 3633556"/>
                <a:gd name="connsiteY4" fmla="*/ 2623370 h 2825217"/>
                <a:gd name="connsiteX0" fmla="*/ 3633556 w 3633556"/>
                <a:gd name="connsiteY0" fmla="*/ 574423 h 2653850"/>
                <a:gd name="connsiteX1" fmla="*/ 124287 w 3633556"/>
                <a:gd name="connsiteY1" fmla="*/ 0 h 2653850"/>
                <a:gd name="connsiteX2" fmla="*/ 0 w 3633556"/>
                <a:gd name="connsiteY2" fmla="*/ 195309 h 2653850"/>
                <a:gd name="connsiteX3" fmla="*/ 330304 w 3633556"/>
                <a:gd name="connsiteY3" fmla="*/ 2653850 h 2653850"/>
              </a:gdLst>
              <a:ahLst/>
              <a:cxnLst>
                <a:cxn ang="0">
                  <a:pos x="connsiteX0" y="connsiteY0"/>
                </a:cxn>
                <a:cxn ang="0">
                  <a:pos x="connsiteX1" y="connsiteY1"/>
                </a:cxn>
                <a:cxn ang="0">
                  <a:pos x="connsiteX2" y="connsiteY2"/>
                </a:cxn>
                <a:cxn ang="0">
                  <a:pos x="connsiteX3" y="connsiteY3"/>
                </a:cxn>
              </a:cxnLst>
              <a:rect l="l" t="t" r="r" b="b"/>
              <a:pathLst>
                <a:path w="3633556" h="2653850">
                  <a:moveTo>
                    <a:pt x="3633556" y="574423"/>
                  </a:moveTo>
                  <a:lnTo>
                    <a:pt x="124287" y="0"/>
                  </a:lnTo>
                  <a:lnTo>
                    <a:pt x="0" y="195309"/>
                  </a:lnTo>
                  <a:cubicBezTo>
                    <a:pt x="127246" y="1000218"/>
                    <a:pt x="273348" y="2249173"/>
                    <a:pt x="330304" y="2653850"/>
                  </a:cubicBezTo>
                </a:path>
              </a:pathLst>
            </a:custGeom>
            <a:solidFill>
              <a:schemeClr val="accent2">
                <a:lumMod val="75000"/>
                <a:alpha val="57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24" name="Picture 23">
              <a:extLst>
                <a:ext uri="{FF2B5EF4-FFF2-40B4-BE49-F238E27FC236}">
                  <a16:creationId xmlns:a16="http://schemas.microsoft.com/office/drawing/2014/main" id="{F9719CAE-11AB-481C-8DEF-01ED333D3E8E}"/>
                </a:ext>
              </a:extLst>
            </p:cNvPr>
            <p:cNvPicPr>
              <a:picLocks noChangeAspect="1"/>
            </p:cNvPicPr>
            <p:nvPr/>
          </p:nvPicPr>
          <p:blipFill rotWithShape="1">
            <a:blip r:embed="rId4"/>
            <a:srcRect t="24279" r="50533" b="20932"/>
            <a:stretch/>
          </p:blipFill>
          <p:spPr>
            <a:xfrm>
              <a:off x="7939954" y="4102338"/>
              <a:ext cx="3279277" cy="2043069"/>
            </a:xfrm>
            <a:prstGeom prst="rect">
              <a:avLst/>
            </a:prstGeom>
            <a:ln w="6350">
              <a:solidFill>
                <a:schemeClr val="tx1"/>
              </a:solidFill>
            </a:ln>
          </p:spPr>
        </p:pic>
        <p:sp>
          <p:nvSpPr>
            <p:cNvPr id="25" name="Oval 24">
              <a:extLst>
                <a:ext uri="{FF2B5EF4-FFF2-40B4-BE49-F238E27FC236}">
                  <a16:creationId xmlns:a16="http://schemas.microsoft.com/office/drawing/2014/main" id="{1CF619AB-819F-4D30-94B5-ECEBA7CA6F49}"/>
                </a:ext>
              </a:extLst>
            </p:cNvPr>
            <p:cNvSpPr/>
            <p:nvPr/>
          </p:nvSpPr>
          <p:spPr>
            <a:xfrm>
              <a:off x="7573413" y="3502925"/>
              <a:ext cx="225863" cy="225863"/>
            </a:xfrm>
            <a:prstGeom prst="ellipse">
              <a:avLst/>
            </a:prstGeom>
            <a:solidFill>
              <a:schemeClr val="bg1"/>
            </a:solidFill>
            <a:ln>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26" name="Picture 25">
              <a:extLst>
                <a:ext uri="{FF2B5EF4-FFF2-40B4-BE49-F238E27FC236}">
                  <a16:creationId xmlns:a16="http://schemas.microsoft.com/office/drawing/2014/main" id="{999E7982-8E18-4956-9232-B912671655FE}"/>
                </a:ext>
              </a:extLst>
            </p:cNvPr>
            <p:cNvPicPr>
              <a:picLocks noChangeAspect="1"/>
            </p:cNvPicPr>
            <p:nvPr/>
          </p:nvPicPr>
          <p:blipFill rotWithShape="1">
            <a:blip r:embed="rId4"/>
            <a:srcRect t="24279" r="50533" b="20932"/>
            <a:stretch/>
          </p:blipFill>
          <p:spPr>
            <a:xfrm>
              <a:off x="7581410" y="3512452"/>
              <a:ext cx="209868" cy="20680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7" name="TextBox 26">
              <a:extLst>
                <a:ext uri="{FF2B5EF4-FFF2-40B4-BE49-F238E27FC236}">
                  <a16:creationId xmlns:a16="http://schemas.microsoft.com/office/drawing/2014/main" id="{10630D0A-38CA-4B54-AAD9-029CD22F4E92}"/>
                </a:ext>
              </a:extLst>
            </p:cNvPr>
            <p:cNvSpPr txBox="1"/>
            <p:nvPr/>
          </p:nvSpPr>
          <p:spPr>
            <a:xfrm>
              <a:off x="9696431" y="3648895"/>
              <a:ext cx="184731" cy="261610"/>
            </a:xfrm>
            <a:prstGeom prst="rect">
              <a:avLst/>
            </a:prstGeom>
            <a:noFill/>
          </p:spPr>
          <p:txBody>
            <a:bodyPr wrap="none" rtlCol="0">
              <a:spAutoFit/>
            </a:bodyPr>
            <a:lstStyle/>
            <a:p>
              <a:endParaRPr lang="en-US" sz="1100" b="1" dirty="0"/>
            </a:p>
          </p:txBody>
        </p:sp>
        <p:pic>
          <p:nvPicPr>
            <p:cNvPr id="28" name="Picture 27">
              <a:extLst>
                <a:ext uri="{FF2B5EF4-FFF2-40B4-BE49-F238E27FC236}">
                  <a16:creationId xmlns:a16="http://schemas.microsoft.com/office/drawing/2014/main" id="{5E360B03-0751-4450-9F22-F2C42D759E26}"/>
                </a:ext>
              </a:extLst>
            </p:cNvPr>
            <p:cNvPicPr>
              <a:picLocks noChangeAspect="1"/>
            </p:cNvPicPr>
            <p:nvPr/>
          </p:nvPicPr>
          <p:blipFill rotWithShape="1">
            <a:blip r:embed="rId5"/>
            <a:srcRect l="12167" t="22059" r="52344" b="20315"/>
            <a:stretch/>
          </p:blipFill>
          <p:spPr>
            <a:xfrm>
              <a:off x="9086709" y="1288496"/>
              <a:ext cx="2149964" cy="2327360"/>
            </a:xfrm>
            <a:prstGeom prst="rect">
              <a:avLst/>
            </a:prstGeom>
          </p:spPr>
        </p:pic>
        <p:sp>
          <p:nvSpPr>
            <p:cNvPr id="29" name="Rectangle 28">
              <a:extLst>
                <a:ext uri="{FF2B5EF4-FFF2-40B4-BE49-F238E27FC236}">
                  <a16:creationId xmlns:a16="http://schemas.microsoft.com/office/drawing/2014/main" id="{8C0AB53F-61D4-4C04-BD25-6CF5D581F010}"/>
                </a:ext>
              </a:extLst>
            </p:cNvPr>
            <p:cNvSpPr/>
            <p:nvPr/>
          </p:nvSpPr>
          <p:spPr>
            <a:xfrm>
              <a:off x="7922317" y="3920032"/>
              <a:ext cx="3314549" cy="169269"/>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Always On Simulation + DCS Data</a:t>
              </a:r>
            </a:p>
          </p:txBody>
        </p:sp>
        <p:sp>
          <p:nvSpPr>
            <p:cNvPr id="30" name="Rectangle 29">
              <a:extLst>
                <a:ext uri="{FF2B5EF4-FFF2-40B4-BE49-F238E27FC236}">
                  <a16:creationId xmlns:a16="http://schemas.microsoft.com/office/drawing/2014/main" id="{FED0333C-7F12-4F33-9107-3804A2DBD602}"/>
                </a:ext>
              </a:extLst>
            </p:cNvPr>
            <p:cNvSpPr/>
            <p:nvPr/>
          </p:nvSpPr>
          <p:spPr>
            <a:xfrm>
              <a:off x="9104151" y="1112708"/>
              <a:ext cx="2132522" cy="169269"/>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extualized Tools &amp; Data</a:t>
              </a:r>
            </a:p>
          </p:txBody>
        </p:sp>
        <p:cxnSp>
          <p:nvCxnSpPr>
            <p:cNvPr id="31" name="Straight Connector 30">
              <a:extLst>
                <a:ext uri="{FF2B5EF4-FFF2-40B4-BE49-F238E27FC236}">
                  <a16:creationId xmlns:a16="http://schemas.microsoft.com/office/drawing/2014/main" id="{920392C4-E658-4374-BA76-409E4EDC1CD8}"/>
                </a:ext>
              </a:extLst>
            </p:cNvPr>
            <p:cNvCxnSpPr>
              <a:endCxn id="30" idx="1"/>
            </p:cNvCxnSpPr>
            <p:nvPr/>
          </p:nvCxnSpPr>
          <p:spPr>
            <a:xfrm flipV="1">
              <a:off x="7573413" y="1197343"/>
              <a:ext cx="1530738" cy="1254833"/>
            </a:xfrm>
            <a:prstGeom prst="line">
              <a:avLst/>
            </a:prstGeom>
            <a:ln w="381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4424508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0E91880-1EA5-4F41-BF69-2293675DD6CE}"/>
              </a:ext>
            </a:extLst>
          </p:cNvPr>
          <p:cNvSpPr>
            <a:spLocks noGrp="1"/>
          </p:cNvSpPr>
          <p:nvPr>
            <p:ph type="sldNum" sz="quarter" idx="18"/>
          </p:nvPr>
        </p:nvSpPr>
        <p:spPr/>
        <p:txBody>
          <a:bodyPr/>
          <a:lstStyle/>
          <a:p>
            <a:fld id="{7A3F00B2-786C-401B-9EB3-42A9D0DD4A9F}" type="slidenum">
              <a:rPr lang="nb-NO" smtClean="0"/>
              <a:pPr/>
              <a:t>9</a:t>
            </a:fld>
            <a:endParaRPr lang="nb-NO"/>
          </a:p>
        </p:txBody>
      </p:sp>
      <p:grpSp>
        <p:nvGrpSpPr>
          <p:cNvPr id="14" name="Group 13">
            <a:extLst>
              <a:ext uri="{FF2B5EF4-FFF2-40B4-BE49-F238E27FC236}">
                <a16:creationId xmlns:a16="http://schemas.microsoft.com/office/drawing/2014/main" id="{8FA4DB79-741B-4207-9DD3-119B2C8EF080}"/>
              </a:ext>
            </a:extLst>
          </p:cNvPr>
          <p:cNvGrpSpPr/>
          <p:nvPr/>
        </p:nvGrpSpPr>
        <p:grpSpPr>
          <a:xfrm>
            <a:off x="-2379810" y="-854960"/>
            <a:ext cx="17619809" cy="9351259"/>
            <a:chOff x="1619683" y="1112708"/>
            <a:chExt cx="9617183" cy="5053594"/>
          </a:xfrm>
        </p:grpSpPr>
        <p:pic>
          <p:nvPicPr>
            <p:cNvPr id="15" name="Picture 14">
              <a:extLst>
                <a:ext uri="{FF2B5EF4-FFF2-40B4-BE49-F238E27FC236}">
                  <a16:creationId xmlns:a16="http://schemas.microsoft.com/office/drawing/2014/main" id="{EAAA9766-E189-4611-95E8-EA48FFB0244A}"/>
                </a:ext>
              </a:extLst>
            </p:cNvPr>
            <p:cNvPicPr>
              <a:picLocks noChangeAspect="1"/>
            </p:cNvPicPr>
            <p:nvPr/>
          </p:nvPicPr>
          <p:blipFill rotWithShape="1">
            <a:blip r:embed="rId3"/>
            <a:srcRect t="7813" b="5428"/>
            <a:stretch/>
          </p:blipFill>
          <p:spPr>
            <a:xfrm>
              <a:off x="1619683" y="1652613"/>
              <a:ext cx="6740940" cy="3289683"/>
            </a:xfrm>
            <a:prstGeom prst="rect">
              <a:avLst/>
            </a:prstGeom>
            <a:ln>
              <a:noFill/>
            </a:ln>
          </p:spPr>
        </p:pic>
        <p:sp>
          <p:nvSpPr>
            <p:cNvPr id="16" name="Freeform: Shape 15">
              <a:extLst>
                <a:ext uri="{FF2B5EF4-FFF2-40B4-BE49-F238E27FC236}">
                  <a16:creationId xmlns:a16="http://schemas.microsoft.com/office/drawing/2014/main" id="{366764C7-C3B5-4433-8D08-4AA86F091D6F}"/>
                </a:ext>
              </a:extLst>
            </p:cNvPr>
            <p:cNvSpPr/>
            <p:nvPr/>
          </p:nvSpPr>
          <p:spPr>
            <a:xfrm>
              <a:off x="7588265" y="3512452"/>
              <a:ext cx="3633556" cy="2653850"/>
            </a:xfrm>
            <a:custGeom>
              <a:avLst/>
              <a:gdLst>
                <a:gd name="connsiteX0" fmla="*/ 3595456 w 3595456"/>
                <a:gd name="connsiteY0" fmla="*/ 639193 h 2610035"/>
                <a:gd name="connsiteX1" fmla="*/ 124287 w 3595456"/>
                <a:gd name="connsiteY1" fmla="*/ 0 h 2610035"/>
                <a:gd name="connsiteX2" fmla="*/ 0 w 3595456"/>
                <a:gd name="connsiteY2" fmla="*/ 195309 h 2610035"/>
                <a:gd name="connsiteX3" fmla="*/ 381739 w 3595456"/>
                <a:gd name="connsiteY3" fmla="*/ 2610035 h 2610035"/>
                <a:gd name="connsiteX4" fmla="*/ 381739 w 3595456"/>
                <a:gd name="connsiteY4" fmla="*/ 2610035 h 2610035"/>
                <a:gd name="connsiteX0" fmla="*/ 3633556 w 3633556"/>
                <a:gd name="connsiteY0" fmla="*/ 574423 h 2610035"/>
                <a:gd name="connsiteX1" fmla="*/ 124287 w 3633556"/>
                <a:gd name="connsiteY1" fmla="*/ 0 h 2610035"/>
                <a:gd name="connsiteX2" fmla="*/ 0 w 3633556"/>
                <a:gd name="connsiteY2" fmla="*/ 195309 h 2610035"/>
                <a:gd name="connsiteX3" fmla="*/ 381739 w 3633556"/>
                <a:gd name="connsiteY3" fmla="*/ 2610035 h 2610035"/>
                <a:gd name="connsiteX4" fmla="*/ 381739 w 3633556"/>
                <a:gd name="connsiteY4" fmla="*/ 2610035 h 2610035"/>
                <a:gd name="connsiteX0" fmla="*/ 3633556 w 3633556"/>
                <a:gd name="connsiteY0" fmla="*/ 574423 h 2792398"/>
                <a:gd name="connsiteX1" fmla="*/ 124287 w 3633556"/>
                <a:gd name="connsiteY1" fmla="*/ 0 h 2792398"/>
                <a:gd name="connsiteX2" fmla="*/ 0 w 3633556"/>
                <a:gd name="connsiteY2" fmla="*/ 195309 h 2792398"/>
                <a:gd name="connsiteX3" fmla="*/ 381739 w 3633556"/>
                <a:gd name="connsiteY3" fmla="*/ 2610035 h 2792398"/>
                <a:gd name="connsiteX4" fmla="*/ 341734 w 3633556"/>
                <a:gd name="connsiteY4" fmla="*/ 2623370 h 2792398"/>
                <a:gd name="connsiteX0" fmla="*/ 3633556 w 3633556"/>
                <a:gd name="connsiteY0" fmla="*/ 574423 h 2825217"/>
                <a:gd name="connsiteX1" fmla="*/ 124287 w 3633556"/>
                <a:gd name="connsiteY1" fmla="*/ 0 h 2825217"/>
                <a:gd name="connsiteX2" fmla="*/ 0 w 3633556"/>
                <a:gd name="connsiteY2" fmla="*/ 195309 h 2825217"/>
                <a:gd name="connsiteX3" fmla="*/ 330304 w 3633556"/>
                <a:gd name="connsiteY3" fmla="*/ 2653850 h 2825217"/>
                <a:gd name="connsiteX4" fmla="*/ 341734 w 3633556"/>
                <a:gd name="connsiteY4" fmla="*/ 2623370 h 2825217"/>
                <a:gd name="connsiteX0" fmla="*/ 3633556 w 3633556"/>
                <a:gd name="connsiteY0" fmla="*/ 574423 h 2653850"/>
                <a:gd name="connsiteX1" fmla="*/ 124287 w 3633556"/>
                <a:gd name="connsiteY1" fmla="*/ 0 h 2653850"/>
                <a:gd name="connsiteX2" fmla="*/ 0 w 3633556"/>
                <a:gd name="connsiteY2" fmla="*/ 195309 h 2653850"/>
                <a:gd name="connsiteX3" fmla="*/ 330304 w 3633556"/>
                <a:gd name="connsiteY3" fmla="*/ 2653850 h 2653850"/>
              </a:gdLst>
              <a:ahLst/>
              <a:cxnLst>
                <a:cxn ang="0">
                  <a:pos x="connsiteX0" y="connsiteY0"/>
                </a:cxn>
                <a:cxn ang="0">
                  <a:pos x="connsiteX1" y="connsiteY1"/>
                </a:cxn>
                <a:cxn ang="0">
                  <a:pos x="connsiteX2" y="connsiteY2"/>
                </a:cxn>
                <a:cxn ang="0">
                  <a:pos x="connsiteX3" y="connsiteY3"/>
                </a:cxn>
              </a:cxnLst>
              <a:rect l="l" t="t" r="r" b="b"/>
              <a:pathLst>
                <a:path w="3633556" h="2653850">
                  <a:moveTo>
                    <a:pt x="3633556" y="574423"/>
                  </a:moveTo>
                  <a:lnTo>
                    <a:pt x="124287" y="0"/>
                  </a:lnTo>
                  <a:lnTo>
                    <a:pt x="0" y="195309"/>
                  </a:lnTo>
                  <a:cubicBezTo>
                    <a:pt x="127246" y="1000218"/>
                    <a:pt x="273348" y="2249173"/>
                    <a:pt x="330304" y="2653850"/>
                  </a:cubicBezTo>
                </a:path>
              </a:pathLst>
            </a:custGeom>
            <a:solidFill>
              <a:schemeClr val="accent2">
                <a:lumMod val="75000"/>
                <a:alpha val="57000"/>
              </a:schemeClr>
            </a:solidFill>
            <a:ln>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17" name="Picture 16">
              <a:extLst>
                <a:ext uri="{FF2B5EF4-FFF2-40B4-BE49-F238E27FC236}">
                  <a16:creationId xmlns:a16="http://schemas.microsoft.com/office/drawing/2014/main" id="{45A26811-0755-4614-94DE-E2B5641BF0F8}"/>
                </a:ext>
              </a:extLst>
            </p:cNvPr>
            <p:cNvPicPr>
              <a:picLocks noChangeAspect="1"/>
            </p:cNvPicPr>
            <p:nvPr/>
          </p:nvPicPr>
          <p:blipFill rotWithShape="1">
            <a:blip r:embed="rId4"/>
            <a:srcRect t="24279" r="50533" b="20932"/>
            <a:stretch/>
          </p:blipFill>
          <p:spPr>
            <a:xfrm>
              <a:off x="7939954" y="4102338"/>
              <a:ext cx="3279277" cy="2043069"/>
            </a:xfrm>
            <a:prstGeom prst="rect">
              <a:avLst/>
            </a:prstGeom>
            <a:ln w="6350">
              <a:solidFill>
                <a:schemeClr val="tx1"/>
              </a:solidFill>
            </a:ln>
          </p:spPr>
        </p:pic>
        <p:sp>
          <p:nvSpPr>
            <p:cNvPr id="18" name="Oval 17">
              <a:extLst>
                <a:ext uri="{FF2B5EF4-FFF2-40B4-BE49-F238E27FC236}">
                  <a16:creationId xmlns:a16="http://schemas.microsoft.com/office/drawing/2014/main" id="{B2DD6951-13AA-40C3-AA5D-5839F74BBE45}"/>
                </a:ext>
              </a:extLst>
            </p:cNvPr>
            <p:cNvSpPr/>
            <p:nvPr/>
          </p:nvSpPr>
          <p:spPr>
            <a:xfrm>
              <a:off x="7573413" y="3502925"/>
              <a:ext cx="225863" cy="225863"/>
            </a:xfrm>
            <a:prstGeom prst="ellipse">
              <a:avLst/>
            </a:prstGeom>
            <a:solidFill>
              <a:schemeClr val="bg1"/>
            </a:solidFill>
            <a:ln>
              <a:solidFill>
                <a:srgbClr val="CC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19" name="Picture 18">
              <a:extLst>
                <a:ext uri="{FF2B5EF4-FFF2-40B4-BE49-F238E27FC236}">
                  <a16:creationId xmlns:a16="http://schemas.microsoft.com/office/drawing/2014/main" id="{B6191D27-DE03-463A-B19C-D8A48B7BBA65}"/>
                </a:ext>
              </a:extLst>
            </p:cNvPr>
            <p:cNvPicPr>
              <a:picLocks noChangeAspect="1"/>
            </p:cNvPicPr>
            <p:nvPr/>
          </p:nvPicPr>
          <p:blipFill rotWithShape="1">
            <a:blip r:embed="rId4"/>
            <a:srcRect t="24279" r="50533" b="20932"/>
            <a:stretch/>
          </p:blipFill>
          <p:spPr>
            <a:xfrm>
              <a:off x="7581410" y="3512452"/>
              <a:ext cx="209868" cy="206808"/>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
          <p:nvSpPr>
            <p:cNvPr id="21" name="TextBox 20">
              <a:extLst>
                <a:ext uri="{FF2B5EF4-FFF2-40B4-BE49-F238E27FC236}">
                  <a16:creationId xmlns:a16="http://schemas.microsoft.com/office/drawing/2014/main" id="{6E4F5F6E-B7FD-4E53-B163-03A1526462DB}"/>
                </a:ext>
              </a:extLst>
            </p:cNvPr>
            <p:cNvSpPr txBox="1"/>
            <p:nvPr/>
          </p:nvSpPr>
          <p:spPr>
            <a:xfrm>
              <a:off x="9696431" y="3648895"/>
              <a:ext cx="184731" cy="261610"/>
            </a:xfrm>
            <a:prstGeom prst="rect">
              <a:avLst/>
            </a:prstGeom>
            <a:noFill/>
          </p:spPr>
          <p:txBody>
            <a:bodyPr wrap="none" rtlCol="0">
              <a:spAutoFit/>
            </a:bodyPr>
            <a:lstStyle/>
            <a:p>
              <a:endParaRPr lang="en-US" sz="1100" b="1" dirty="0"/>
            </a:p>
          </p:txBody>
        </p:sp>
        <p:pic>
          <p:nvPicPr>
            <p:cNvPr id="32" name="Picture 31">
              <a:extLst>
                <a:ext uri="{FF2B5EF4-FFF2-40B4-BE49-F238E27FC236}">
                  <a16:creationId xmlns:a16="http://schemas.microsoft.com/office/drawing/2014/main" id="{D47C4762-23A7-40E9-B901-C23458D7A72E}"/>
                </a:ext>
              </a:extLst>
            </p:cNvPr>
            <p:cNvPicPr>
              <a:picLocks noChangeAspect="1"/>
            </p:cNvPicPr>
            <p:nvPr/>
          </p:nvPicPr>
          <p:blipFill rotWithShape="1">
            <a:blip r:embed="rId5"/>
            <a:srcRect l="12167" t="22059" r="52344" b="20315"/>
            <a:stretch/>
          </p:blipFill>
          <p:spPr>
            <a:xfrm>
              <a:off x="9086709" y="1288496"/>
              <a:ext cx="2149964" cy="2327360"/>
            </a:xfrm>
            <a:prstGeom prst="rect">
              <a:avLst/>
            </a:prstGeom>
          </p:spPr>
        </p:pic>
        <p:sp>
          <p:nvSpPr>
            <p:cNvPr id="33" name="Rectangle 32">
              <a:extLst>
                <a:ext uri="{FF2B5EF4-FFF2-40B4-BE49-F238E27FC236}">
                  <a16:creationId xmlns:a16="http://schemas.microsoft.com/office/drawing/2014/main" id="{AB2E44AE-D370-4AEC-B749-99CAF281B125}"/>
                </a:ext>
              </a:extLst>
            </p:cNvPr>
            <p:cNvSpPr/>
            <p:nvPr/>
          </p:nvSpPr>
          <p:spPr>
            <a:xfrm>
              <a:off x="7922317" y="3920032"/>
              <a:ext cx="3314549" cy="169269"/>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Always On Simulation + DCS Data</a:t>
              </a:r>
            </a:p>
          </p:txBody>
        </p:sp>
        <p:sp>
          <p:nvSpPr>
            <p:cNvPr id="34" name="Rectangle 33">
              <a:extLst>
                <a:ext uri="{FF2B5EF4-FFF2-40B4-BE49-F238E27FC236}">
                  <a16:creationId xmlns:a16="http://schemas.microsoft.com/office/drawing/2014/main" id="{6DB5B2F4-4A88-4EDA-80D0-5AAAA8D85E01}"/>
                </a:ext>
              </a:extLst>
            </p:cNvPr>
            <p:cNvSpPr/>
            <p:nvPr/>
          </p:nvSpPr>
          <p:spPr>
            <a:xfrm>
              <a:off x="9104151" y="1112708"/>
              <a:ext cx="2132522" cy="169269"/>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rPr>
                <a:t>Contextualized Tools &amp; Data</a:t>
              </a:r>
            </a:p>
          </p:txBody>
        </p:sp>
        <p:cxnSp>
          <p:nvCxnSpPr>
            <p:cNvPr id="35" name="Straight Connector 34">
              <a:extLst>
                <a:ext uri="{FF2B5EF4-FFF2-40B4-BE49-F238E27FC236}">
                  <a16:creationId xmlns:a16="http://schemas.microsoft.com/office/drawing/2014/main" id="{A2919C2E-BF85-4D53-AD3B-A6A207988AC2}"/>
                </a:ext>
              </a:extLst>
            </p:cNvPr>
            <p:cNvCxnSpPr>
              <a:endCxn id="34" idx="1"/>
            </p:cNvCxnSpPr>
            <p:nvPr/>
          </p:nvCxnSpPr>
          <p:spPr>
            <a:xfrm flipV="1">
              <a:off x="7573413" y="1197343"/>
              <a:ext cx="1530738" cy="1254833"/>
            </a:xfrm>
            <a:prstGeom prst="line">
              <a:avLst/>
            </a:prstGeom>
            <a:ln w="38100"/>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463563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Lglz.0nDovDVCGWrwWUm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d4V05M8_US0iPozSpgN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RqcTlGJfAkFpajYvBN4l4Q"/>
</p:tagLst>
</file>

<file path=ppt/theme/theme1.xml><?xml version="1.0" encoding="utf-8"?>
<a:theme xmlns:a="http://schemas.openxmlformats.org/drawingml/2006/main" name="Office-tema">
  <a:themeElements>
    <a:clrScheme name="Kongsberg">
      <a:dk1>
        <a:sysClr val="windowText" lastClr="000000"/>
      </a:dk1>
      <a:lt1>
        <a:sysClr val="window" lastClr="FFFFFF"/>
      </a:lt1>
      <a:dk2>
        <a:srgbClr val="081839"/>
      </a:dk2>
      <a:lt2>
        <a:srgbClr val="E7E6E6"/>
      </a:lt2>
      <a:accent1>
        <a:srgbClr val="001639"/>
      </a:accent1>
      <a:accent2>
        <a:srgbClr val="50BFD1"/>
      </a:accent2>
      <a:accent3>
        <a:srgbClr val="A6845C"/>
      </a:accent3>
      <a:accent4>
        <a:srgbClr val="C8B59C"/>
      </a:accent4>
      <a:accent5>
        <a:srgbClr val="D7153A"/>
      </a:accent5>
      <a:accent6>
        <a:srgbClr val="F9F26D"/>
      </a:accent6>
      <a:hlink>
        <a:srgbClr val="0563C1"/>
      </a:hlink>
      <a:folHlink>
        <a:srgbClr val="954F72"/>
      </a:folHlink>
    </a:clrScheme>
    <a:fontScheme name="Kongsberg">
      <a:majorFont>
        <a:latin typeface="Calibri Light"/>
        <a:ea typeface=""/>
        <a:cs typeface=""/>
      </a:majorFont>
      <a:minorFont>
        <a:latin typeface="Calibri Light"/>
        <a:ea typeface=""/>
        <a:cs typeface=""/>
      </a:minorFont>
    </a:fontScheme>
    <a:fmtScheme name="Office-t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8-10-10 KONGSBERG [Read-Only]" id="{E8D32CDD-86FF-4F58-8F15-3F9F370D5154}" vid="{4F73D1B0-005E-47A1-B1FF-1CBF74816D6B}"/>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A0B2A846C70A9469650C8E7E26200F1" ma:contentTypeVersion="3" ma:contentTypeDescription="Opprett et nytt dokument." ma:contentTypeScope="" ma:versionID="9c8475125aaa47ddf98e89d8f63832d4">
  <xsd:schema xmlns:xsd="http://www.w3.org/2001/XMLSchema" xmlns:xs="http://www.w3.org/2001/XMLSchema" xmlns:p="http://schemas.microsoft.com/office/2006/metadata/properties" xmlns:ns2="59fe28a3-e0a0-47ba-8774-0e50ba2834fc" xmlns:ns3="389c173f-8139-4ff9-98c7-e3a30296fbcb" targetNamespace="http://schemas.microsoft.com/office/2006/metadata/properties" ma:root="true" ma:fieldsID="dc0094a13328dbb792d616a97ae4b59a" ns2:_="" ns3:_="">
    <xsd:import namespace="59fe28a3-e0a0-47ba-8774-0e50ba2834fc"/>
    <xsd:import namespace="389c173f-8139-4ff9-98c7-e3a30296fbcb"/>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ServiceLocation"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9fe28a3-e0a0-47ba-8774-0e50ba2834f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89c173f-8139-4ff9-98c7-e3a30296fbcb" elementFormDefault="qualified">
    <xsd:import namespace="http://schemas.microsoft.com/office/2006/documentManagement/types"/>
    <xsd:import namespace="http://schemas.microsoft.com/office/infopath/2007/PartnerControls"/>
    <xsd:element name="SharedWithUsers" ma:index="12"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Delings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2798C4D-7B9A-45EC-9270-6A51FDBA6D87}">
  <ds:schemaRefs>
    <ds:schemaRef ds:uri="http://schemas.microsoft.com/sharepoint/v3/contenttype/forms"/>
  </ds:schemaRefs>
</ds:datastoreItem>
</file>

<file path=customXml/itemProps2.xml><?xml version="1.0" encoding="utf-8"?>
<ds:datastoreItem xmlns:ds="http://schemas.openxmlformats.org/officeDocument/2006/customXml" ds:itemID="{95F014E1-7C81-4DF4-A5D1-9868DAD7E9C0}">
  <ds:schemaRefs>
    <ds:schemaRef ds:uri="389c173f-8139-4ff9-98c7-e3a30296fbcb"/>
    <ds:schemaRef ds:uri="http://schemas.microsoft.com/office/2006/metadata/properties"/>
    <ds:schemaRef ds:uri="59fe28a3-e0a0-47ba-8774-0e50ba2834fc"/>
    <ds:schemaRef ds:uri="http://schemas.microsoft.com/office/2006/documentManagement/types"/>
    <ds:schemaRef ds:uri="http://purl.org/dc/dcmitype/"/>
    <ds:schemaRef ds:uri="http://purl.org/dc/elements/1.1/"/>
    <ds:schemaRef ds:uri="http://schemas.microsoft.com/office/infopath/2007/PartnerControls"/>
    <ds:schemaRef ds:uri="http://schemas.openxmlformats.org/package/2006/metadata/core-properties"/>
    <ds:schemaRef ds:uri="http://www.w3.org/XML/1998/namespace"/>
    <ds:schemaRef ds:uri="http://purl.org/dc/terms/"/>
  </ds:schemaRefs>
</ds:datastoreItem>
</file>

<file path=customXml/itemProps3.xml><?xml version="1.0" encoding="utf-8"?>
<ds:datastoreItem xmlns:ds="http://schemas.openxmlformats.org/officeDocument/2006/customXml" ds:itemID="{5727DD84-1D00-410C-8B03-7559C64A59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9fe28a3-e0a0-47ba-8774-0e50ba2834fc"/>
    <ds:schemaRef ds:uri="389c173f-8139-4ff9-98c7-e3a30296fbc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069</TotalTime>
  <Words>3282</Words>
  <Application>Microsoft Office PowerPoint</Application>
  <PresentationFormat>Widescreen</PresentationFormat>
  <Paragraphs>271</Paragraphs>
  <Slides>22</Slides>
  <Notes>22</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2</vt:i4>
      </vt:variant>
    </vt:vector>
  </HeadingPairs>
  <TitlesOfParts>
    <vt:vector size="33" baseType="lpstr">
      <vt:lpstr>Arial</vt:lpstr>
      <vt:lpstr>Bahnschrift Condensed</vt:lpstr>
      <vt:lpstr>Calibri</vt:lpstr>
      <vt:lpstr>Calibri Light</vt:lpstr>
      <vt:lpstr>Courier New</vt:lpstr>
      <vt:lpstr>Helvetica Light</vt:lpstr>
      <vt:lpstr>ShellMedium</vt:lpstr>
      <vt:lpstr>Symbol</vt:lpstr>
      <vt:lpstr>Wingdings</vt:lpstr>
      <vt:lpstr>Office-tema</vt:lpstr>
      <vt:lpstr>think-cell Slide</vt:lpstr>
      <vt:lpstr>PowerPoint Presentation</vt:lpstr>
      <vt:lpstr>PowerPoint Presentation</vt:lpstr>
      <vt:lpstr>What can digital twins do to improve performance on existing upstream assets? </vt:lpstr>
      <vt:lpstr>What are our options?</vt:lpstr>
      <vt:lpstr>We are deeply engaged in helping operators tackle the biggest challenges of the industry</vt:lpstr>
      <vt:lpstr>PowerPoint Presentation</vt:lpstr>
      <vt:lpstr>The digital work surfa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industrial work surface enables upstream companies in improving their operating models</vt:lpstr>
      <vt:lpstr>Introduction of the digital twin as the industrial work surfaces yields results </vt:lpstr>
      <vt:lpstr>PowerPoint Presentation</vt:lpstr>
      <vt:lpstr>The future of energy systems is integration</vt:lpstr>
      <vt:lpstr>PowerPoint Presentation</vt:lpstr>
      <vt:lpstr>We are Kongsberg Digita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ONGSBERG Group US$3.0 BN Revenue 11,000 employes  A global Technology Company Headquartered in Norway</dc:title>
  <dc:creator>Monique Swanepoel</dc:creator>
  <cp:lastModifiedBy>Haavard Oestensen</cp:lastModifiedBy>
  <cp:revision>26</cp:revision>
  <dcterms:created xsi:type="dcterms:W3CDTF">2022-05-30T07:34:06Z</dcterms:created>
  <dcterms:modified xsi:type="dcterms:W3CDTF">2022-06-06T10:37: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A0B2A846C70A9469650C8E7E26200F1</vt:lpwstr>
  </property>
</Properties>
</file>